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"/>
  </p:notesMasterIdLst>
  <p:sldIdLst>
    <p:sldId id="5551" r:id="rId2"/>
    <p:sldId id="5752" r:id="rId3"/>
    <p:sldId id="5759" r:id="rId4"/>
    <p:sldId id="5762" r:id="rId5"/>
    <p:sldId id="5764" r:id="rId6"/>
    <p:sldId id="5761" r:id="rId7"/>
    <p:sldId id="5765" r:id="rId8"/>
    <p:sldId id="5760" r:id="rId9"/>
    <p:sldId id="5766" r:id="rId10"/>
  </p:sldIdLst>
  <p:sldSz cx="12192000" cy="6858000"/>
  <p:notesSz cx="6858000" cy="9144000"/>
  <p:defaultTextStyle>
    <a:defPPr>
      <a:defRPr lang="en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D0CECE"/>
    <a:srgbClr val="4DC681"/>
    <a:srgbClr val="FAB932"/>
    <a:srgbClr val="F77777"/>
    <a:srgbClr val="FEECEC"/>
    <a:srgbClr val="FFF8E0"/>
    <a:srgbClr val="E4F9EE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82"/>
    <p:restoredTop sz="97030"/>
  </p:normalViewPr>
  <p:slideViewPr>
    <p:cSldViewPr snapToGrid="0" snapToObjects="1">
      <p:cViewPr>
        <p:scale>
          <a:sx n="60" d="100"/>
          <a:sy n="60" d="100"/>
        </p:scale>
        <p:origin x="2104" y="12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121" d="100"/>
          <a:sy n="121" d="100"/>
        </p:scale>
        <p:origin x="3864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9C5E67-1900-7C46-B1F5-BFB732C1582E}" type="datetimeFigureOut">
              <a:rPr lang="en-PT" smtClean="0"/>
              <a:t>25/11/2020</a:t>
            </a:fld>
            <a:endParaRPr lang="en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3C60AE-A848-4143-A3DB-8139520CF15C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38954564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327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3C60AE-A848-4143-A3DB-8139520CF15C}" type="slidenum">
              <a:rPr lang="en-PT" smtClean="0"/>
              <a:t>2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6694139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Imag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8DB5493-DB6B-40D1-AFFE-4F9D0DACC1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25941" y="1729858"/>
            <a:ext cx="5688632" cy="2437590"/>
          </a:xfrm>
        </p:spPr>
        <p:txBody>
          <a:bodyPr lIns="0" tIns="0" rIns="0" bIns="0">
            <a:spAutoFit/>
          </a:bodyPr>
          <a:lstStyle>
            <a:lvl1pPr>
              <a:defRPr/>
            </a:lvl1pPr>
          </a:lstStyle>
          <a:p>
            <a:r>
              <a:rPr lang="en-US" sz="4400" noProof="0"/>
              <a:t>INSERT STATEMENT TEXT at 44pt minimum 36pt  </a:t>
            </a:r>
            <a:br>
              <a:rPr lang="en-US" sz="4400" noProof="0"/>
            </a:br>
            <a:r>
              <a:rPr lang="en-US" sz="4400"/>
              <a:t>4 Lines of text</a:t>
            </a:r>
            <a:endParaRPr lang="en-US" sz="4400" dirty="0"/>
          </a:p>
        </p:txBody>
      </p:sp>
      <p:sp>
        <p:nvSpPr>
          <p:cNvPr id="16" name="Inhaltsplatzhalter 13">
            <a:extLst>
              <a:ext uri="{FF2B5EF4-FFF2-40B4-BE49-F238E27FC236}">
                <a16:creationId xmlns:a16="http://schemas.microsoft.com/office/drawing/2014/main" id="{0D168800-A865-45C8-B238-DB47A767392D}"/>
              </a:ext>
            </a:extLst>
          </p:cNvPr>
          <p:cNvSpPr txBox="1">
            <a:spLocks/>
          </p:cNvSpPr>
          <p:nvPr userDrawn="1"/>
        </p:nvSpPr>
        <p:spPr>
          <a:xfrm>
            <a:off x="11328491" y="6365573"/>
            <a:ext cx="528848" cy="161175"/>
          </a:xfrm>
          <a:prstGeom prst="rect">
            <a:avLst/>
          </a:prstGeom>
        </p:spPr>
        <p:txBody>
          <a:bodyPr lIns="0" tIns="47992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58024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EFA9386-9530-40B4-894A-752A27F3CB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EFA9386-9530-40B4-894A-752A27F3CB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7BB6BF8-3EE6-4A37-B8BF-639E4C16CF4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Graphik Semibold" panose="020B0703030202060203" pitchFamily="34" charset="0"/>
              <a:ea typeface="+mj-ea"/>
              <a:cs typeface="+mj-cs"/>
              <a:sym typeface="Graphik Semibold" panose="020B0703030202060203" pitchFamily="34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208968"/>
            <a:ext cx="11430000" cy="885542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2800" cap="none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r>
              <a:rPr lang="en-US"/>
              <a:t>click to edit 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>
          <a:xfrm>
            <a:off x="11506202" y="6519009"/>
            <a:ext cx="304799" cy="206375"/>
          </a:xfrm>
        </p:spPr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0AB2F5F-5A66-4577-8F58-7E606DB386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1000" y="1146689"/>
            <a:ext cx="11430000" cy="244878"/>
          </a:xfrm>
        </p:spPr>
        <p:txBody>
          <a:bodyPr lIns="0" tIns="46800" bIns="0">
            <a:noAutofit/>
          </a:bodyPr>
          <a:lstStyle>
            <a:lvl1pPr marL="0">
              <a:defRPr sz="1600" b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53640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76C0346-02E8-1D4C-9BB6-691C2E922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C94913-1108-5B4A-B9A3-F7B4837E3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3E1301-454C-E14D-A586-70A146032C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66A139-244B-044E-94FF-A09C66D1A1F1}" type="datetimeFigureOut">
              <a:rPr lang="en-PT" smtClean="0"/>
              <a:t>25/11/2020</a:t>
            </a:fld>
            <a:endParaRPr lang="en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8780BE-9457-214B-B66E-5E8BB05275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B7670C-36F3-424F-A4DA-B597AFB89F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65A118-321A-3F47-8A7C-95E8640E2862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2843181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tiff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jpeg"/><Relationship Id="rId9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5B8D343A-FCB2-3341-AD78-B9A508F760B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26" t="8677" r="1026" b="8677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D3265AE-1F41-40D6-B08E-D34CC9ED59DB}"/>
              </a:ext>
            </a:extLst>
          </p:cNvPr>
          <p:cNvSpPr/>
          <p:nvPr/>
        </p:nvSpPr>
        <p:spPr>
          <a:xfrm>
            <a:off x="-1" y="0"/>
            <a:ext cx="12187767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5A57BD1B-D1AF-41CD-9FF8-44B2067C5872}"/>
              </a:ext>
            </a:extLst>
          </p:cNvPr>
          <p:cNvSpPr txBox="1">
            <a:spLocks/>
          </p:cNvSpPr>
          <p:nvPr/>
        </p:nvSpPr>
        <p:spPr>
          <a:xfrm>
            <a:off x="492051" y="2110177"/>
            <a:ext cx="7618279" cy="339041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40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100000"/>
              </a:lnSpc>
              <a:spcBef>
                <a:spcPts val="0"/>
              </a:spcBef>
            </a:pPr>
            <a:r>
              <a:rPr lang="en-US" sz="4800" cap="none" dirty="0">
                <a:solidFill>
                  <a:schemeClr val="bg1"/>
                </a:solidFill>
                <a:latin typeface="Graphik" panose="020B0503030202060203" pitchFamily="34" charset="0"/>
                <a:ea typeface="+mn-ea"/>
                <a:cs typeface="+mn-cs"/>
              </a:rPr>
              <a:t>Bitcoin Price Predictor</a:t>
            </a:r>
          </a:p>
          <a:p>
            <a:pPr lvl="0" defTabSz="914400">
              <a:lnSpc>
                <a:spcPct val="100000"/>
              </a:lnSpc>
              <a:spcBef>
                <a:spcPts val="0"/>
              </a:spcBef>
            </a:pPr>
            <a:r>
              <a:rPr lang="en-US" sz="3200" b="0" cap="none" dirty="0">
                <a:solidFill>
                  <a:schemeClr val="bg1"/>
                </a:solidFill>
                <a:latin typeface="Graphik" panose="020B0503030202060203" pitchFamily="34" charset="0"/>
                <a:ea typeface="+mn-ea"/>
                <a:cs typeface="+mn-cs"/>
              </a:rPr>
              <a:t>Data Science Batch # 469</a:t>
            </a:r>
          </a:p>
          <a:p>
            <a:pPr lvl="0" defTabSz="914400">
              <a:lnSpc>
                <a:spcPct val="100000"/>
              </a:lnSpc>
              <a:spcBef>
                <a:spcPts val="0"/>
              </a:spcBef>
            </a:pPr>
            <a:endParaRPr lang="en-US" sz="3200" b="0" cap="none" dirty="0">
              <a:solidFill>
                <a:schemeClr val="bg1"/>
              </a:solidFill>
              <a:latin typeface="Graphik" panose="020B0503030202060203" pitchFamily="34" charset="0"/>
              <a:ea typeface="+mn-ea"/>
              <a:cs typeface="+mn-cs"/>
            </a:endParaRPr>
          </a:p>
          <a:p>
            <a:pPr lvl="0" defTabSz="914400">
              <a:lnSpc>
                <a:spcPct val="100000"/>
              </a:lnSpc>
              <a:spcBef>
                <a:spcPts val="0"/>
              </a:spcBef>
            </a:pPr>
            <a:endParaRPr lang="en-US" sz="3200" b="0" cap="none" dirty="0">
              <a:solidFill>
                <a:schemeClr val="bg1"/>
              </a:solidFill>
              <a:latin typeface="Graphik" panose="020B0503030202060203" pitchFamily="34" charset="0"/>
              <a:ea typeface="+mn-ea"/>
              <a:cs typeface="+mn-cs"/>
            </a:endParaRPr>
          </a:p>
          <a:p>
            <a:pPr lvl="0" defTabSz="914400">
              <a:lnSpc>
                <a:spcPct val="100000"/>
              </a:lnSpc>
              <a:spcBef>
                <a:spcPts val="0"/>
              </a:spcBef>
            </a:pPr>
            <a:r>
              <a:rPr lang="en-US" sz="2000" cap="none" dirty="0">
                <a:solidFill>
                  <a:schemeClr val="bg1"/>
                </a:solidFill>
                <a:latin typeface="Graphik" panose="020B0503030202060203" pitchFamily="34" charset="0"/>
                <a:ea typeface="+mn-ea"/>
                <a:cs typeface="+mn-cs"/>
              </a:rPr>
              <a:t>LE WAGON PRESENTATION</a:t>
            </a:r>
            <a:endParaRPr lang="en-US" sz="2400" dirty="0">
              <a:solidFill>
                <a:schemeClr val="bg1"/>
              </a:solidFill>
              <a:latin typeface="Graphik Light" panose="020B0403030202060203" pitchFamily="34" charset="0"/>
            </a:endParaRPr>
          </a:p>
          <a:p>
            <a:endParaRPr lang="en-US" sz="2000" b="0" cap="none" dirty="0">
              <a:solidFill>
                <a:schemeClr val="bg1"/>
              </a:solidFill>
              <a:latin typeface="Graphik Light" panose="020B0403030202060203" pitchFamily="34" charset="0"/>
            </a:endParaRPr>
          </a:p>
          <a:p>
            <a:endParaRPr lang="en-US" sz="1600" b="0" cap="none" dirty="0">
              <a:solidFill>
                <a:schemeClr val="bg1"/>
              </a:solidFill>
              <a:latin typeface="Graphik Light" panose="020B0403030202060203" pitchFamily="34" charset="0"/>
            </a:endParaRPr>
          </a:p>
          <a:p>
            <a:endParaRPr lang="en-US" sz="1600" b="0" cap="none" dirty="0">
              <a:solidFill>
                <a:schemeClr val="bg1"/>
              </a:solidFill>
              <a:latin typeface="Graphik Light" panose="020B0403030202060203" pitchFamily="34" charset="0"/>
            </a:endParaRPr>
          </a:p>
          <a:p>
            <a:r>
              <a:rPr lang="en-US" sz="1600" b="0" cap="none" dirty="0">
                <a:solidFill>
                  <a:schemeClr val="bg1"/>
                </a:solidFill>
                <a:latin typeface="Graphik Light" panose="020B0403030202060203" pitchFamily="34" charset="0"/>
              </a:rPr>
              <a:t>November, 2020</a:t>
            </a:r>
            <a:endParaRPr lang="en-US" sz="1600" b="0" dirty="0">
              <a:solidFill>
                <a:schemeClr val="bg1"/>
              </a:solidFill>
              <a:latin typeface="Graphik Light" panose="020B04030302020602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ACCBE24-EE41-4298-9320-20798F387A63}"/>
              </a:ext>
            </a:extLst>
          </p:cNvPr>
          <p:cNvCxnSpPr/>
          <p:nvPr/>
        </p:nvCxnSpPr>
        <p:spPr>
          <a:xfrm>
            <a:off x="510363" y="3843132"/>
            <a:ext cx="126037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88169C7-C7B8-4710-BA51-52104A29DF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88169C7-C7B8-4710-BA51-52104A29DF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9" name="Picture 5" descr="Le Wagon UI Kit - Components &amp; Layouts for your web pages">
            <a:extLst>
              <a:ext uri="{FF2B5EF4-FFF2-40B4-BE49-F238E27FC236}">
                <a16:creationId xmlns:a16="http://schemas.microsoft.com/office/drawing/2014/main" id="{A59F72DA-2A95-BA45-890F-DB726283AA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5342" y="5833639"/>
            <a:ext cx="2320992" cy="724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35710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382A170-7C3A-3D4D-86C7-C01055FCE743}"/>
              </a:ext>
            </a:extLst>
          </p:cNvPr>
          <p:cNvSpPr/>
          <p:nvPr/>
        </p:nvSpPr>
        <p:spPr>
          <a:xfrm>
            <a:off x="0" y="6020473"/>
            <a:ext cx="12192000" cy="53109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tlCol="0" anchor="ctr"/>
          <a:lstStyle/>
          <a:p>
            <a:pPr algn="ctr">
              <a:spcAft>
                <a:spcPts val="600"/>
              </a:spcAft>
              <a:defRPr/>
            </a:pPr>
            <a:r>
              <a:rPr lang="en-GB" sz="2000" dirty="0">
                <a:solidFill>
                  <a:schemeClr val="tx2">
                    <a:lumMod val="75000"/>
                  </a:schemeClr>
                </a:solidFill>
              </a:rPr>
              <a:t>Help investors and individuals </a:t>
            </a:r>
            <a:r>
              <a:rPr lang="en-GB" sz="2000" b="1" dirty="0">
                <a:solidFill>
                  <a:schemeClr val="tx2">
                    <a:lumMod val="75000"/>
                  </a:schemeClr>
                </a:solidFill>
              </a:rPr>
              <a:t>make better informed decisions </a:t>
            </a:r>
            <a:r>
              <a:rPr lang="en-GB" sz="2000" dirty="0">
                <a:solidFill>
                  <a:schemeClr val="tx2">
                    <a:lumMod val="75000"/>
                  </a:schemeClr>
                </a:solidFill>
              </a:rPr>
              <a:t>about when </a:t>
            </a:r>
            <a:r>
              <a:rPr lang="en-GB" sz="2000" b="1" dirty="0">
                <a:solidFill>
                  <a:schemeClr val="tx2">
                    <a:lumMod val="75000"/>
                  </a:schemeClr>
                </a:solidFill>
              </a:rPr>
              <a:t>to invest in bitcoi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D99687F-BDA1-7842-91AF-8FD3AB247FF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7440" r="3668"/>
          <a:stretch/>
        </p:blipFill>
        <p:spPr>
          <a:xfrm>
            <a:off x="439915" y="1322753"/>
            <a:ext cx="11312171" cy="4754165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FF5E20CB-4D85-CB4A-ADBE-60A22AE30A80}"/>
              </a:ext>
            </a:extLst>
          </p:cNvPr>
          <p:cNvSpPr/>
          <p:nvPr/>
        </p:nvSpPr>
        <p:spPr>
          <a:xfrm>
            <a:off x="847023" y="3333668"/>
            <a:ext cx="317634" cy="308009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T" sz="400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5CC9400-F3B9-0844-8EA7-2E269BD793B1}"/>
              </a:ext>
            </a:extLst>
          </p:cNvPr>
          <p:cNvSpPr/>
          <p:nvPr/>
        </p:nvSpPr>
        <p:spPr>
          <a:xfrm>
            <a:off x="3415364" y="2655087"/>
            <a:ext cx="1666775" cy="166517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T" b="1" dirty="0"/>
              <a:t>19.224$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5CE82AE-4648-E647-9472-2DF2F5059076}"/>
              </a:ext>
            </a:extLst>
          </p:cNvPr>
          <p:cNvCxnSpPr>
            <a:endCxn id="12" idx="2"/>
          </p:cNvCxnSpPr>
          <p:nvPr/>
        </p:nvCxnSpPr>
        <p:spPr>
          <a:xfrm>
            <a:off x="1164657" y="3487672"/>
            <a:ext cx="2250707" cy="0"/>
          </a:xfrm>
          <a:prstGeom prst="straightConnector1">
            <a:avLst/>
          </a:prstGeom>
          <a:ln w="1905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137DC1D-1DF8-1D4C-A297-B5A6440063AD}"/>
              </a:ext>
            </a:extLst>
          </p:cNvPr>
          <p:cNvSpPr txBox="1"/>
          <p:nvPr/>
        </p:nvSpPr>
        <p:spPr>
          <a:xfrm>
            <a:off x="808523" y="3374578"/>
            <a:ext cx="47163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T" sz="900" dirty="0">
                <a:solidFill>
                  <a:schemeClr val="bg1"/>
                </a:solidFill>
              </a:rPr>
              <a:t>400$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F02A75-6AC2-3E49-9FA5-E170E44CD7A8}"/>
              </a:ext>
            </a:extLst>
          </p:cNvPr>
          <p:cNvSpPr/>
          <p:nvPr/>
        </p:nvSpPr>
        <p:spPr>
          <a:xfrm>
            <a:off x="1748589" y="3295168"/>
            <a:ext cx="994611" cy="404263"/>
          </a:xfrm>
          <a:prstGeom prst="rect">
            <a:avLst/>
          </a:prstGeom>
          <a:solidFill>
            <a:schemeClr val="bg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T" b="1" dirty="0"/>
              <a:t>+ 4611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AFC1B6-1996-F249-A159-B20C3C4FD451}"/>
              </a:ext>
            </a:extLst>
          </p:cNvPr>
          <p:cNvSpPr txBox="1"/>
          <p:nvPr/>
        </p:nvSpPr>
        <p:spPr>
          <a:xfrm>
            <a:off x="688193" y="2385759"/>
            <a:ext cx="6773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PT" sz="1100" dirty="0"/>
              <a:t>2014/09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9F1F242-55CF-134E-87C2-82E85A13710E}"/>
              </a:ext>
            </a:extLst>
          </p:cNvPr>
          <p:cNvSpPr txBox="1"/>
          <p:nvPr/>
        </p:nvSpPr>
        <p:spPr>
          <a:xfrm>
            <a:off x="3910071" y="2385759"/>
            <a:ext cx="6773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PT" sz="1100" dirty="0"/>
              <a:t>2020/11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5678374-A97C-3D46-8B18-8C64DE4987D8}"/>
              </a:ext>
            </a:extLst>
          </p:cNvPr>
          <p:cNvSpPr/>
          <p:nvPr/>
        </p:nvSpPr>
        <p:spPr>
          <a:xfrm>
            <a:off x="5977217" y="3244334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PT" b="0" dirty="0">
                <a:effectLst/>
              </a:rPr>
              <a:t> </a:t>
            </a:r>
            <a:endParaRPr lang="en-PT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B6BE40B-4E6C-CC45-AE8C-7C128E87126B}"/>
              </a:ext>
            </a:extLst>
          </p:cNvPr>
          <p:cNvSpPr/>
          <p:nvPr/>
        </p:nvSpPr>
        <p:spPr>
          <a:xfrm>
            <a:off x="5977217" y="3244334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PT" b="0" dirty="0">
                <a:effectLst/>
              </a:rPr>
              <a:t> </a:t>
            </a:r>
            <a:endParaRPr lang="en-PT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03B8CB3-B394-9747-86C5-B1FE7805CAF3}"/>
              </a:ext>
            </a:extLst>
          </p:cNvPr>
          <p:cNvSpPr/>
          <p:nvPr/>
        </p:nvSpPr>
        <p:spPr>
          <a:xfrm>
            <a:off x="5977217" y="3244334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PT" b="0" dirty="0">
                <a:effectLst/>
              </a:rPr>
              <a:t> </a:t>
            </a:r>
            <a:endParaRPr lang="en-PT" dirty="0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C676DE59-1EA1-FC4C-AB23-2650E47BC38E}"/>
              </a:ext>
            </a:extLst>
          </p:cNvPr>
          <p:cNvSpPr txBox="1">
            <a:spLocks/>
          </p:cNvSpPr>
          <p:nvPr/>
        </p:nvSpPr>
        <p:spPr>
          <a:xfrm>
            <a:off x="533400" y="361368"/>
            <a:ext cx="11430000" cy="885542"/>
          </a:xfrm>
          <a:prstGeom prst="rect">
            <a:avLst/>
          </a:prstGeom>
        </p:spPr>
        <p:txBody>
          <a:bodyPr anchor="t"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Graphik" panose="020B0503030202060203" pitchFamily="34" charset="0"/>
                <a:ea typeface="+mj-ea"/>
                <a:cs typeface="+mj-cs"/>
              </a:defRPr>
            </a:lvl1pPr>
          </a:lstStyle>
          <a:p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Bitcoin i</a:t>
            </a:r>
            <a:r>
              <a:rPr lang="en-GB" sz="2800" dirty="0">
                <a:solidFill>
                  <a:schemeClr val="tx2">
                    <a:lumMod val="75000"/>
                  </a:schemeClr>
                </a:solidFill>
              </a:rPr>
              <a:t>s a </a:t>
            </a:r>
            <a:r>
              <a:rPr lang="en-GB" sz="2800" b="1" dirty="0">
                <a:solidFill>
                  <a:schemeClr val="tx2">
                    <a:lumMod val="75000"/>
                  </a:schemeClr>
                </a:solidFill>
              </a:rPr>
              <a:t>cryptocurrency </a:t>
            </a:r>
            <a:r>
              <a:rPr lang="en-GB" sz="2800" dirty="0">
                <a:solidFill>
                  <a:schemeClr val="tx2">
                    <a:lumMod val="75000"/>
                  </a:schemeClr>
                </a:solidFill>
              </a:rPr>
              <a:t>invented by Satoshi Nakamoto, it </a:t>
            </a:r>
            <a:r>
              <a:rPr lang="en-GB" sz="2800" b="1" dirty="0">
                <a:solidFill>
                  <a:schemeClr val="tx2">
                    <a:lumMod val="75000"/>
                  </a:schemeClr>
                </a:solidFill>
              </a:rPr>
              <a:t>started in 2009</a:t>
            </a:r>
            <a:r>
              <a:rPr lang="en-GB" sz="2800" b="1" baseline="300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GB" sz="2800" dirty="0">
                <a:solidFill>
                  <a:schemeClr val="tx2">
                    <a:lumMod val="75000"/>
                  </a:schemeClr>
                </a:solidFill>
              </a:rPr>
              <a:t>when its implementation was </a:t>
            </a:r>
            <a:r>
              <a:rPr lang="en-GB" sz="2800" b="1" dirty="0">
                <a:solidFill>
                  <a:schemeClr val="tx2">
                    <a:lumMod val="75000"/>
                  </a:schemeClr>
                </a:solidFill>
              </a:rPr>
              <a:t>released as 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open-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source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software</a:t>
            </a: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31647853-EFD1-7945-810B-6C4ECB726FD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618936" y="6544061"/>
            <a:ext cx="304799" cy="20637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36202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01AB5F9-16AB-A64B-9121-D3684B370DA9}"/>
              </a:ext>
            </a:extLst>
          </p:cNvPr>
          <p:cNvSpPr txBox="1">
            <a:spLocks/>
          </p:cNvSpPr>
          <p:nvPr/>
        </p:nvSpPr>
        <p:spPr>
          <a:xfrm>
            <a:off x="533400" y="361368"/>
            <a:ext cx="11430000" cy="885542"/>
          </a:xfrm>
          <a:prstGeom prst="rect">
            <a:avLst/>
          </a:prstGeom>
        </p:spPr>
        <p:txBody>
          <a:bodyPr anchor="t"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Graphik" panose="020B0503030202060203" pitchFamily="34" charset="0"/>
                <a:ea typeface="+mj-ea"/>
                <a:cs typeface="+mj-cs"/>
              </a:defRPr>
            </a:lvl1pPr>
          </a:lstStyle>
          <a:p>
            <a:pPr>
              <a:spcBef>
                <a:spcPts val="1600"/>
              </a:spcBef>
            </a:pP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Our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initial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idea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was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to </a:t>
            </a:r>
            <a:r>
              <a:rPr lang="en-GB" sz="2800" b="1" dirty="0">
                <a:solidFill>
                  <a:schemeClr val="tx2">
                    <a:lumMod val="75000"/>
                  </a:schemeClr>
                </a:solidFill>
                <a:latin typeface="Roboto"/>
              </a:rPr>
              <a:t>predict </a:t>
            </a:r>
            <a:r>
              <a:rPr lang="en-GB" sz="2800" dirty="0">
                <a:solidFill>
                  <a:schemeClr val="tx2">
                    <a:lumMod val="75000"/>
                  </a:schemeClr>
                </a:solidFill>
                <a:latin typeface="Roboto"/>
              </a:rPr>
              <a:t>the (short-term) </a:t>
            </a:r>
            <a:r>
              <a:rPr lang="en-GB" sz="2800" b="1" dirty="0">
                <a:solidFill>
                  <a:schemeClr val="tx2">
                    <a:lumMod val="75000"/>
                  </a:schemeClr>
                </a:solidFill>
                <a:latin typeface="Roboto"/>
              </a:rPr>
              <a:t>movement of Bitcoin based on news and Social Media </a:t>
            </a:r>
            <a:endParaRPr lang="en-GB" sz="28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" name="Google Shape;81;p16">
            <a:extLst>
              <a:ext uri="{FF2B5EF4-FFF2-40B4-BE49-F238E27FC236}">
                <a16:creationId xmlns:a16="http://schemas.microsoft.com/office/drawing/2014/main" id="{49D1D2EB-B9FE-294A-9C64-A54CC6AEC760}"/>
              </a:ext>
            </a:extLst>
          </p:cNvPr>
          <p:cNvSpPr txBox="1">
            <a:spLocks/>
          </p:cNvSpPr>
          <p:nvPr/>
        </p:nvSpPr>
        <p:spPr>
          <a:xfrm>
            <a:off x="533400" y="1456393"/>
            <a:ext cx="11125200" cy="76417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2000" dirty="0">
                <a:solidFill>
                  <a:schemeClr val="bg1"/>
                </a:solidFill>
              </a:rPr>
              <a:t>Use </a:t>
            </a:r>
            <a:r>
              <a:rPr lang="en-GB" sz="2000" b="1" dirty="0">
                <a:solidFill>
                  <a:schemeClr val="bg1"/>
                </a:solidFill>
              </a:rPr>
              <a:t>sentiment analysis </a:t>
            </a:r>
            <a:r>
              <a:rPr lang="en-GB" sz="2000" dirty="0">
                <a:solidFill>
                  <a:schemeClr val="bg1"/>
                </a:solidFill>
              </a:rPr>
              <a:t>on tweets and news </a:t>
            </a:r>
            <a:r>
              <a:rPr lang="en-GB" sz="2000" b="1" dirty="0">
                <a:solidFill>
                  <a:schemeClr val="bg1"/>
                </a:solidFill>
              </a:rPr>
              <a:t>about bitcoin</a:t>
            </a:r>
            <a:r>
              <a:rPr lang="en-GB" sz="2000" dirty="0">
                <a:solidFill>
                  <a:schemeClr val="bg1"/>
                </a:solidFill>
              </a:rPr>
              <a:t> to </a:t>
            </a:r>
            <a:r>
              <a:rPr lang="en-GB" sz="2000" b="1" dirty="0">
                <a:solidFill>
                  <a:schemeClr val="bg1"/>
                </a:solidFill>
              </a:rPr>
              <a:t>predict the change in BTC stock price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2CECAAF-E1AC-5B42-A7AE-3FED4FB278BD}"/>
              </a:ext>
            </a:extLst>
          </p:cNvPr>
          <p:cNvGrpSpPr>
            <a:grpSpLocks noChangeAspect="1"/>
          </p:cNvGrpSpPr>
          <p:nvPr/>
        </p:nvGrpSpPr>
        <p:grpSpPr>
          <a:xfrm>
            <a:off x="533400" y="2458712"/>
            <a:ext cx="7913399" cy="2743254"/>
            <a:chOff x="530296" y="2663798"/>
            <a:chExt cx="9575213" cy="3319337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D22C884-6D2A-9F4C-8DB7-8D34A6CBD6F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62716" y="2672377"/>
              <a:ext cx="4742793" cy="33107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Graphik "/>
                  <a:ea typeface="+mn-ea"/>
                  <a:cs typeface="+mn-cs"/>
                </a:rPr>
                <a:t>TWEETS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9007735F-605C-B248-AB12-B824EC2004E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0296" y="2663798"/>
              <a:ext cx="4742793" cy="33107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dirty="0">
                  <a:solidFill>
                    <a:schemeClr val="tx2">
                      <a:lumMod val="75000"/>
                    </a:schemeClr>
                  </a:solidFill>
                  <a:latin typeface="Graphik "/>
                </a:rPr>
                <a:t>NEWS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Graphik "/>
                <a:ea typeface="+mn-ea"/>
                <a:cs typeface="+mn-cs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275D191-48F0-2B4F-AA97-7E992D07A7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20834" y="3322330"/>
              <a:ext cx="3218269" cy="148227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D28968BB-F3D8-864A-AAB2-396EFE82C2B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85993" y="4327756"/>
              <a:ext cx="3209368" cy="1513432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1282" name="Picture 18" descr="A Twitter Hacking Spree Hits Elon Musk, Obama, Apple, and More | WIRED">
              <a:extLst>
                <a:ext uri="{FF2B5EF4-FFF2-40B4-BE49-F238E27FC236}">
                  <a16:creationId xmlns:a16="http://schemas.microsoft.com/office/drawing/2014/main" id="{DAF003CE-3985-054B-A65E-0C38F262E8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3984" y="3305851"/>
              <a:ext cx="2728925" cy="1679339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84" name="Picture 20" descr="Twitter hack hits Elon Musk, Obama, Kanye West, Bill Gates and more in  Bitcoin scam - CNET">
              <a:extLst>
                <a:ext uri="{FF2B5EF4-FFF2-40B4-BE49-F238E27FC236}">
                  <a16:creationId xmlns:a16="http://schemas.microsoft.com/office/drawing/2014/main" id="{0B4DA758-ADAD-AB4C-942F-D759B7938C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334" y="4336575"/>
              <a:ext cx="2498190" cy="1517997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66" name="Picture 2">
              <a:extLst>
                <a:ext uri="{FF2B5EF4-FFF2-40B4-BE49-F238E27FC236}">
                  <a16:creationId xmlns:a16="http://schemas.microsoft.com/office/drawing/2014/main" id="{520516A4-37C3-A74A-B187-7383E2A64B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51240" y="2872711"/>
              <a:ext cx="813293" cy="6570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1AEF6930-2DB6-1F42-99AF-8257D87BD57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60005" y="4007680"/>
              <a:ext cx="653038" cy="644400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r>
                <a:rPr lang="en-PT" sz="4000" b="1" dirty="0"/>
                <a:t>+</a:t>
              </a:r>
              <a:endParaRPr lang="en-PT" b="1" dirty="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3EE465E-6698-DD4A-92FF-436D97CFFE16}"/>
              </a:ext>
            </a:extLst>
          </p:cNvPr>
          <p:cNvGrpSpPr/>
          <p:nvPr/>
        </p:nvGrpSpPr>
        <p:grpSpPr>
          <a:xfrm>
            <a:off x="8625282" y="2505944"/>
            <a:ext cx="282947" cy="396950"/>
            <a:chOff x="8093966" y="1601561"/>
            <a:chExt cx="282947" cy="396950"/>
          </a:xfrm>
          <a:solidFill>
            <a:schemeClr val="tx2">
              <a:lumMod val="75000"/>
            </a:schemeClr>
          </a:solidFill>
        </p:grpSpPr>
        <p:sp>
          <p:nvSpPr>
            <p:cNvPr id="32" name="Isosceles Triangle 37">
              <a:extLst>
                <a:ext uri="{FF2B5EF4-FFF2-40B4-BE49-F238E27FC236}">
                  <a16:creationId xmlns:a16="http://schemas.microsoft.com/office/drawing/2014/main" id="{AFC14B2F-0DF6-F84B-ACE5-BC5619E26B68}"/>
                </a:ext>
              </a:extLst>
            </p:cNvPr>
            <p:cNvSpPr/>
            <p:nvPr/>
          </p:nvSpPr>
          <p:spPr>
            <a:xfrm rot="5400000">
              <a:off x="8057872" y="1679469"/>
              <a:ext cx="396950" cy="241133"/>
            </a:xfrm>
            <a:prstGeom prst="triangl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  <p:sp>
          <p:nvSpPr>
            <p:cNvPr id="33" name="Isosceles Triangle 38">
              <a:extLst>
                <a:ext uri="{FF2B5EF4-FFF2-40B4-BE49-F238E27FC236}">
                  <a16:creationId xmlns:a16="http://schemas.microsoft.com/office/drawing/2014/main" id="{09E2DE45-2DF0-C342-8390-176376CEED39}"/>
                </a:ext>
              </a:extLst>
            </p:cNvPr>
            <p:cNvSpPr/>
            <p:nvPr/>
          </p:nvSpPr>
          <p:spPr>
            <a:xfrm rot="5400000">
              <a:off x="8035432" y="1709451"/>
              <a:ext cx="298235" cy="181168"/>
            </a:xfrm>
            <a:prstGeom prst="triangl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9CC5E46E-C6C0-BF41-99C3-1824ADA5DAB6}"/>
              </a:ext>
            </a:extLst>
          </p:cNvPr>
          <p:cNvSpPr>
            <a:spLocks noChangeAspect="1"/>
          </p:cNvSpPr>
          <p:nvPr/>
        </p:nvSpPr>
        <p:spPr>
          <a:xfrm>
            <a:off x="9031392" y="2458712"/>
            <a:ext cx="2627208" cy="27361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Graphik "/>
                <a:ea typeface="+mn-ea"/>
                <a:cs typeface="+mn-cs"/>
              </a:rPr>
              <a:t>SENTIMENT ANALYSIS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CCF18CFC-B8C5-1C41-9613-9B836CA60B09}"/>
              </a:ext>
            </a:extLst>
          </p:cNvPr>
          <p:cNvSpPr/>
          <p:nvPr/>
        </p:nvSpPr>
        <p:spPr>
          <a:xfrm>
            <a:off x="9202829" y="3174421"/>
            <a:ext cx="2120900" cy="523532"/>
          </a:xfrm>
          <a:prstGeom prst="roundRect">
            <a:avLst/>
          </a:prstGeom>
          <a:solidFill>
            <a:srgbClr val="E4F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r>
              <a:rPr lang="en-PT" b="1" dirty="0">
                <a:solidFill>
                  <a:srgbClr val="4DC681"/>
                </a:solidFill>
              </a:rPr>
              <a:t>POSITIVE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12289946-188B-4F47-8A5F-288E08B2FD7A}"/>
              </a:ext>
            </a:extLst>
          </p:cNvPr>
          <p:cNvSpPr/>
          <p:nvPr/>
        </p:nvSpPr>
        <p:spPr>
          <a:xfrm>
            <a:off x="9202829" y="3810056"/>
            <a:ext cx="2120900" cy="523532"/>
          </a:xfrm>
          <a:prstGeom prst="roundRect">
            <a:avLst/>
          </a:prstGeom>
          <a:solidFill>
            <a:srgbClr val="FFF8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r>
              <a:rPr lang="en-PT" b="1" dirty="0">
                <a:solidFill>
                  <a:srgbClr val="FAB932"/>
                </a:solidFill>
              </a:rPr>
              <a:t>NEUTRAL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7159E8A8-E4A7-FF44-8ACE-915B16203C20}"/>
              </a:ext>
            </a:extLst>
          </p:cNvPr>
          <p:cNvSpPr/>
          <p:nvPr/>
        </p:nvSpPr>
        <p:spPr>
          <a:xfrm>
            <a:off x="9202829" y="4488031"/>
            <a:ext cx="2120900" cy="523532"/>
          </a:xfrm>
          <a:prstGeom prst="roundRect">
            <a:avLst/>
          </a:prstGeom>
          <a:solidFill>
            <a:srgbClr val="FE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r>
              <a:rPr lang="en-PT" b="1" dirty="0">
                <a:solidFill>
                  <a:srgbClr val="F77777"/>
                </a:solidFill>
              </a:rPr>
              <a:t>NEGATIVE</a:t>
            </a:r>
          </a:p>
        </p:txBody>
      </p:sp>
      <p:pic>
        <p:nvPicPr>
          <p:cNvPr id="41" name="Picture 6" descr="Everything There Is to Know about Sentiment Analysis">
            <a:extLst>
              <a:ext uri="{FF2B5EF4-FFF2-40B4-BE49-F238E27FC236}">
                <a16:creationId xmlns:a16="http://schemas.microsoft.com/office/drawing/2014/main" id="{F29CD499-D346-6044-902E-DBD807EFC1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534" t="30780" r="16231" b="49425"/>
          <a:stretch/>
        </p:blipFill>
        <p:spPr bwMode="auto">
          <a:xfrm>
            <a:off x="10780417" y="4346284"/>
            <a:ext cx="785478" cy="717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0" name="Picture 6" descr="Everything There Is to Know about Sentiment Analysis">
            <a:extLst>
              <a:ext uri="{FF2B5EF4-FFF2-40B4-BE49-F238E27FC236}">
                <a16:creationId xmlns:a16="http://schemas.microsoft.com/office/drawing/2014/main" id="{440569DD-5893-5347-A92B-812A9C404D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92" t="34338" r="69376" b="51879"/>
          <a:stretch/>
        </p:blipFill>
        <p:spPr bwMode="auto">
          <a:xfrm>
            <a:off x="10780417" y="3149021"/>
            <a:ext cx="725485" cy="549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6" descr="Everything There Is to Know about Sentiment Analysis">
            <a:extLst>
              <a:ext uri="{FF2B5EF4-FFF2-40B4-BE49-F238E27FC236}">
                <a16:creationId xmlns:a16="http://schemas.microsoft.com/office/drawing/2014/main" id="{035054E1-E08C-A04C-B238-6CBA40E665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36" t="29791" r="42111" b="54395"/>
          <a:stretch/>
        </p:blipFill>
        <p:spPr bwMode="auto">
          <a:xfrm>
            <a:off x="10759896" y="3746153"/>
            <a:ext cx="833032" cy="630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3FAF7EF0-A406-E54B-A73A-32A4EFF2F1D7}"/>
              </a:ext>
            </a:extLst>
          </p:cNvPr>
          <p:cNvSpPr>
            <a:spLocks noChangeAspect="1"/>
          </p:cNvSpPr>
          <p:nvPr/>
        </p:nvSpPr>
        <p:spPr>
          <a:xfrm>
            <a:off x="990600" y="5356409"/>
            <a:ext cx="10668000" cy="11402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7999" tIns="108000" rIns="108000" bIns="108000"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Graphik "/>
                <a:ea typeface="+mn-ea"/>
                <a:cs typeface="+mn-cs"/>
              </a:rPr>
              <a:t>Tweets were useless - </a:t>
            </a:r>
            <a:r>
              <a:rPr lang="en-US" b="1" dirty="0">
                <a:solidFill>
                  <a:schemeClr val="tx2">
                    <a:lumMod val="75000"/>
                  </a:schemeClr>
                </a:solidFill>
                <a:latin typeface="Graphik "/>
              </a:rPr>
              <a:t>R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Graphik "/>
                <a:ea typeface="+mn-ea"/>
                <a:cs typeface="+mn-cs"/>
              </a:rPr>
              <a:t>Squared 3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b="1" dirty="0">
                <a:solidFill>
                  <a:schemeClr val="tx2">
                    <a:lumMod val="75000"/>
                  </a:schemeClr>
                </a:solidFill>
                <a:latin typeface="Graphik "/>
              </a:rPr>
              <a:t>Tweets with many different languages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Graphik "/>
                <a:ea typeface="+mn-ea"/>
                <a:cs typeface="+mn-cs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Graphik "/>
                <a:ea typeface="+mn-ea"/>
                <a:cs typeface="+mn-cs"/>
              </a:rPr>
              <a:t>Sentiment analysis was too heavy to run with all data</a:t>
            </a:r>
          </a:p>
        </p:txBody>
      </p:sp>
      <p:pic>
        <p:nvPicPr>
          <p:cNvPr id="11286" name="Picture 22" descr="Reflective Warning Signs - Danger (Symbol), Road Signs | Seton">
            <a:extLst>
              <a:ext uri="{FF2B5EF4-FFF2-40B4-BE49-F238E27FC236}">
                <a16:creationId xmlns:a16="http://schemas.microsoft.com/office/drawing/2014/main" id="{FACF8F2D-4F5E-394A-A768-2E798D0A2E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309" y="5550286"/>
            <a:ext cx="752468" cy="752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Slide Number Placeholder 3">
            <a:extLst>
              <a:ext uri="{FF2B5EF4-FFF2-40B4-BE49-F238E27FC236}">
                <a16:creationId xmlns:a16="http://schemas.microsoft.com/office/drawing/2014/main" id="{C333A525-9DFC-794A-9B8D-5931EDAD530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618936" y="6544061"/>
            <a:ext cx="304799" cy="20637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03685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DC5A46B-F755-4E48-B7AA-EC3077B877A6}"/>
              </a:ext>
            </a:extLst>
          </p:cNvPr>
          <p:cNvSpPr/>
          <p:nvPr/>
        </p:nvSpPr>
        <p:spPr>
          <a:xfrm>
            <a:off x="533399" y="1740540"/>
            <a:ext cx="10978019" cy="8855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Graphik "/>
                <a:ea typeface="+mn-ea"/>
                <a:cs typeface="+mn-cs"/>
              </a:rPr>
              <a:t>What do we predict?</a:t>
            </a:r>
            <a:endParaRPr lang="en-US" sz="2000" dirty="0">
              <a:solidFill>
                <a:schemeClr val="tx2">
                  <a:lumMod val="75000"/>
                </a:schemeClr>
              </a:solidFill>
              <a:latin typeface="Graphik 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Graphik "/>
                <a:ea typeface="+mn-ea"/>
                <a:cs typeface="+mn-cs"/>
              </a:rPr>
              <a:t>Bitcoin closing price, closing price of the next da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6A97632-9AEB-D749-932C-E4B94F1D7A34}"/>
              </a:ext>
            </a:extLst>
          </p:cNvPr>
          <p:cNvSpPr/>
          <p:nvPr/>
        </p:nvSpPr>
        <p:spPr>
          <a:xfrm>
            <a:off x="533399" y="2780732"/>
            <a:ext cx="10978019" cy="8855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Graphik "/>
                <a:ea typeface="+mn-ea"/>
                <a:cs typeface="+mn-cs"/>
              </a:rPr>
              <a:t>Type of prediction?</a:t>
            </a:r>
            <a:endParaRPr lang="en-US" sz="2000" dirty="0">
              <a:solidFill>
                <a:schemeClr val="tx2">
                  <a:lumMod val="75000"/>
                </a:schemeClr>
              </a:solidFill>
              <a:latin typeface="Graphik 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Graphik "/>
                <a:ea typeface="+mn-ea"/>
                <a:cs typeface="+mn-cs"/>
              </a:rPr>
              <a:t>2 Class Classification using deep learning model (RNN: Recurrent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  <a:latin typeface="Graphik "/>
              </a:rPr>
              <a:t>N</a:t>
            </a:r>
            <a:r>
              <a:rPr kumimoji="0" lang="en-US" sz="2000" i="0" u="none" strike="noStrike" kern="1200" cap="none" spc="0" normalizeH="0" baseline="0" noProof="0" dirty="0" err="1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Graphik "/>
                <a:ea typeface="+mn-ea"/>
                <a:cs typeface="+mn-cs"/>
              </a:rPr>
              <a:t>eural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Graphik "/>
                <a:ea typeface="+mn-ea"/>
                <a:cs typeface="+mn-cs"/>
              </a:rPr>
              <a:t> Network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C4FFB4C-9633-FE46-8B85-B9FA4737BA3F}"/>
              </a:ext>
            </a:extLst>
          </p:cNvPr>
          <p:cNvSpPr/>
          <p:nvPr/>
        </p:nvSpPr>
        <p:spPr>
          <a:xfrm>
            <a:off x="533399" y="3820924"/>
            <a:ext cx="10978019" cy="8855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Graphik "/>
              </a:rPr>
              <a:t>How?</a:t>
            </a:r>
            <a:endParaRPr lang="en-US" sz="2000" dirty="0">
              <a:solidFill>
                <a:schemeClr val="tx2">
                  <a:lumMod val="75000"/>
                </a:schemeClr>
              </a:solidFill>
              <a:latin typeface="Graphik 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Graphik "/>
                <a:ea typeface="+mn-ea"/>
                <a:cs typeface="+mn-cs"/>
              </a:rPr>
              <a:t>Time series analysis using historical data on Bitcoin and its feature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6FF1D8D-84E0-AB48-BA7D-061346C314EC}"/>
              </a:ext>
            </a:extLst>
          </p:cNvPr>
          <p:cNvGrpSpPr/>
          <p:nvPr/>
        </p:nvGrpSpPr>
        <p:grpSpPr>
          <a:xfrm>
            <a:off x="533399" y="4875426"/>
            <a:ext cx="10978019" cy="1455038"/>
            <a:chOff x="533399" y="4875426"/>
            <a:chExt cx="10978019" cy="1455038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367FDF5-1820-214D-9C79-92F623CD4DF3}"/>
                </a:ext>
              </a:extLst>
            </p:cNvPr>
            <p:cNvSpPr/>
            <p:nvPr/>
          </p:nvSpPr>
          <p:spPr>
            <a:xfrm>
              <a:off x="5936566" y="5562258"/>
              <a:ext cx="3770142" cy="27748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T" sz="1200" b="1" dirty="0"/>
                <a:t>NOT USED</a:t>
              </a:r>
            </a:p>
          </p:txBody>
        </p:sp>
        <p:sp>
          <p:nvSpPr>
            <p:cNvPr id="12" name="Right Arrow 11">
              <a:extLst>
                <a:ext uri="{FF2B5EF4-FFF2-40B4-BE49-F238E27FC236}">
                  <a16:creationId xmlns:a16="http://schemas.microsoft.com/office/drawing/2014/main" id="{4DC54D81-C70E-CF4F-98FB-4ECC2E528835}"/>
                </a:ext>
              </a:extLst>
            </p:cNvPr>
            <p:cNvSpPr/>
            <p:nvPr/>
          </p:nvSpPr>
          <p:spPr>
            <a:xfrm>
              <a:off x="533399" y="5391512"/>
              <a:ext cx="10978019" cy="609600"/>
            </a:xfrm>
            <a:prstGeom prst="rightArrow">
              <a:avLst/>
            </a:prstGeom>
            <a:noFill/>
            <a:ln w="2857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PT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73761FE-AE14-3C46-AB03-47E911C5F79F}"/>
                </a:ext>
              </a:extLst>
            </p:cNvPr>
            <p:cNvSpPr txBox="1"/>
            <p:nvPr/>
          </p:nvSpPr>
          <p:spPr>
            <a:xfrm>
              <a:off x="784076" y="4875426"/>
              <a:ext cx="162589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PT" sz="1600" b="1" dirty="0">
                  <a:solidFill>
                    <a:schemeClr val="tx2">
                      <a:lumMod val="75000"/>
                    </a:schemeClr>
                  </a:solidFill>
                </a:rPr>
                <a:t>CLOSING PRICE</a:t>
              </a:r>
            </a:p>
            <a:p>
              <a:pPr algn="ctr"/>
              <a:r>
                <a:rPr lang="en-PT" sz="1600" b="1" dirty="0">
                  <a:solidFill>
                    <a:schemeClr val="tx2">
                      <a:lumMod val="75000"/>
                    </a:schemeClr>
                  </a:solidFill>
                </a:rPr>
                <a:t> DAY N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18996E5-0CF3-8245-B0A0-757408C50A6B}"/>
                </a:ext>
              </a:extLst>
            </p:cNvPr>
            <p:cNvSpPr txBox="1"/>
            <p:nvPr/>
          </p:nvSpPr>
          <p:spPr>
            <a:xfrm>
              <a:off x="8621909" y="4875426"/>
              <a:ext cx="238046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PT" sz="1600" b="1" dirty="0">
                  <a:solidFill>
                    <a:schemeClr val="tx2">
                      <a:lumMod val="75000"/>
                    </a:schemeClr>
                  </a:solidFill>
                </a:rPr>
                <a:t>CLOSING PRICE</a:t>
              </a:r>
            </a:p>
            <a:p>
              <a:pPr algn="ctr"/>
              <a:r>
                <a:rPr lang="en-PT" sz="1600" b="1" dirty="0">
                  <a:solidFill>
                    <a:schemeClr val="tx2">
                      <a:lumMod val="75000"/>
                    </a:schemeClr>
                  </a:solidFill>
                </a:rPr>
                <a:t>DAY N+1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3AAB022-5667-0345-AD3A-8AD751905B96}"/>
                </a:ext>
              </a:extLst>
            </p:cNvPr>
            <p:cNvSpPr txBox="1"/>
            <p:nvPr/>
          </p:nvSpPr>
          <p:spPr>
            <a:xfrm>
              <a:off x="4723226" y="4875426"/>
              <a:ext cx="238046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PT" sz="1600" b="1" dirty="0">
                  <a:solidFill>
                    <a:schemeClr val="tx2">
                      <a:lumMod val="75000"/>
                    </a:schemeClr>
                  </a:solidFill>
                </a:rPr>
                <a:t>OPENING PRICE </a:t>
              </a:r>
            </a:p>
            <a:p>
              <a:pPr algn="ctr"/>
              <a:r>
                <a:rPr lang="en-PT" sz="1600" b="1" dirty="0">
                  <a:solidFill>
                    <a:schemeClr val="tx2">
                      <a:lumMod val="75000"/>
                    </a:schemeClr>
                  </a:solidFill>
                </a:rPr>
                <a:t>DAY N</a:t>
              </a:r>
            </a:p>
          </p:txBody>
        </p:sp>
        <p:cxnSp>
          <p:nvCxnSpPr>
            <p:cNvPr id="18" name="Elbow Connector 17">
              <a:extLst>
                <a:ext uri="{FF2B5EF4-FFF2-40B4-BE49-F238E27FC236}">
                  <a16:creationId xmlns:a16="http://schemas.microsoft.com/office/drawing/2014/main" id="{3ADF5C52-68AA-E44C-B2F3-1610BD44A26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3399" y="6085519"/>
              <a:ext cx="9271783" cy="244945"/>
            </a:xfrm>
            <a:prstGeom prst="bentConnector3">
              <a:avLst>
                <a:gd name="adj1" fmla="val 100070"/>
              </a:avLst>
            </a:prstGeom>
            <a:ln w="57150">
              <a:solidFill>
                <a:schemeClr val="tx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3D2A295-40A0-DD48-908B-FF73D2527D63}"/>
                </a:ext>
              </a:extLst>
            </p:cNvPr>
            <p:cNvSpPr txBox="1"/>
            <p:nvPr/>
          </p:nvSpPr>
          <p:spPr>
            <a:xfrm>
              <a:off x="3525254" y="5918438"/>
              <a:ext cx="2093495" cy="335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PT" b="1" dirty="0">
                  <a:solidFill>
                    <a:schemeClr val="tx2">
                      <a:lumMod val="75000"/>
                    </a:schemeClr>
                  </a:solidFill>
                </a:rPr>
                <a:t>WHAT WE PREDICT</a:t>
              </a:r>
            </a:p>
          </p:txBody>
        </p:sp>
        <p:sp>
          <p:nvSpPr>
            <p:cNvPr id="23" name="Diamond 22">
              <a:extLst>
                <a:ext uri="{FF2B5EF4-FFF2-40B4-BE49-F238E27FC236}">
                  <a16:creationId xmlns:a16="http://schemas.microsoft.com/office/drawing/2014/main" id="{799C64D9-650D-7A4C-A399-021A140F8308}"/>
                </a:ext>
              </a:extLst>
            </p:cNvPr>
            <p:cNvSpPr/>
            <p:nvPr/>
          </p:nvSpPr>
          <p:spPr>
            <a:xfrm>
              <a:off x="9520639" y="5405061"/>
              <a:ext cx="597218" cy="591879"/>
            </a:xfrm>
            <a:prstGeom prst="diamond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PT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9B99CF7-494E-E145-8069-807FAD42326E}"/>
                </a:ext>
              </a:extLst>
            </p:cNvPr>
            <p:cNvSpPr txBox="1"/>
            <p:nvPr/>
          </p:nvSpPr>
          <p:spPr>
            <a:xfrm>
              <a:off x="9432387" y="5516334"/>
              <a:ext cx="77372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PT" b="1" dirty="0">
                  <a:solidFill>
                    <a:schemeClr val="bg1"/>
                  </a:solidFill>
                </a:rPr>
                <a:t>BTC</a:t>
              </a:r>
            </a:p>
          </p:txBody>
        </p:sp>
      </p:grp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E45020B8-B076-0D40-B79A-E1312957B97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618936" y="6544061"/>
            <a:ext cx="304799" cy="20637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DE0AC8E9-50C3-3D4B-9708-C9553D564543}"/>
              </a:ext>
            </a:extLst>
          </p:cNvPr>
          <p:cNvSpPr txBox="1">
            <a:spLocks/>
          </p:cNvSpPr>
          <p:nvPr/>
        </p:nvSpPr>
        <p:spPr>
          <a:xfrm>
            <a:off x="533400" y="361368"/>
            <a:ext cx="11430000" cy="885542"/>
          </a:xfrm>
          <a:prstGeom prst="rect">
            <a:avLst/>
          </a:prstGeom>
        </p:spPr>
        <p:txBody>
          <a:bodyPr anchor="t"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Graphik" panose="020B0503030202060203" pitchFamily="34" charset="0"/>
                <a:ea typeface="+mj-ea"/>
                <a:cs typeface="+mj-cs"/>
              </a:defRPr>
            </a:lvl1pPr>
          </a:lstStyle>
          <a:p>
            <a:pPr>
              <a:spcBef>
                <a:spcPts val="1600"/>
              </a:spcBef>
            </a:pPr>
            <a:r>
              <a:rPr lang="en-GB" sz="2800" dirty="0">
                <a:solidFill>
                  <a:schemeClr val="tx2">
                    <a:lumMod val="75000"/>
                  </a:schemeClr>
                </a:solidFill>
              </a:rPr>
              <a:t>The goal is to create a model that will tell us whether the </a:t>
            </a:r>
            <a:r>
              <a:rPr lang="en-GB" sz="2800" b="1" dirty="0">
                <a:solidFill>
                  <a:schemeClr val="tx2">
                    <a:lumMod val="75000"/>
                  </a:schemeClr>
                </a:solidFill>
              </a:rPr>
              <a:t>bitcoin closing price of tomorrow will be higher or lower than today’s closing price</a:t>
            </a:r>
          </a:p>
        </p:txBody>
      </p:sp>
      <p:pic>
        <p:nvPicPr>
          <p:cNvPr id="44" name="Picture 2" descr="Google">
            <a:extLst>
              <a:ext uri="{FF2B5EF4-FFF2-40B4-BE49-F238E27FC236}">
                <a16:creationId xmlns:a16="http://schemas.microsoft.com/office/drawing/2014/main" id="{173888E0-0954-3641-9C9F-993D215B6A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3376" y="4024751"/>
            <a:ext cx="664496" cy="232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" descr="NASDAQ Stock Exchange Overview | TradingHours.com">
            <a:extLst>
              <a:ext uri="{FF2B5EF4-FFF2-40B4-BE49-F238E27FC236}">
                <a16:creationId xmlns:a16="http://schemas.microsoft.com/office/drawing/2014/main" id="{98E64538-C9E7-0448-9454-246C86D594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6874" y="4428119"/>
            <a:ext cx="782569" cy="188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32" descr="Bitcoin | Informática | TechTudo">
            <a:extLst>
              <a:ext uri="{FF2B5EF4-FFF2-40B4-BE49-F238E27FC236}">
                <a16:creationId xmlns:a16="http://schemas.microsoft.com/office/drawing/2014/main" id="{9A53C141-2EEF-9249-BD1B-B833473C16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0650" y="4308471"/>
            <a:ext cx="319120" cy="31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8588F1EE-06FD-2241-A735-EE3F6B8151AA}"/>
              </a:ext>
            </a:extLst>
          </p:cNvPr>
          <p:cNvGrpSpPr/>
          <p:nvPr/>
        </p:nvGrpSpPr>
        <p:grpSpPr>
          <a:xfrm>
            <a:off x="10740014" y="3892883"/>
            <a:ext cx="805355" cy="523254"/>
            <a:chOff x="5174250" y="2971330"/>
            <a:chExt cx="1569410" cy="842705"/>
          </a:xfrm>
        </p:grpSpPr>
        <p:pic>
          <p:nvPicPr>
            <p:cNvPr id="48" name="Picture 12" descr="Coin money, korean currency, korean logo, money, won icon - Download on  Iconfinder">
              <a:extLst>
                <a:ext uri="{FF2B5EF4-FFF2-40B4-BE49-F238E27FC236}">
                  <a16:creationId xmlns:a16="http://schemas.microsoft.com/office/drawing/2014/main" id="{EDBBCBCE-FEA5-734F-8BF2-105DCF228D6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74250" y="2971330"/>
              <a:ext cx="424749" cy="4247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38">
              <a:extLst>
                <a:ext uri="{FF2B5EF4-FFF2-40B4-BE49-F238E27FC236}">
                  <a16:creationId xmlns:a16="http://schemas.microsoft.com/office/drawing/2014/main" id="{6F8152B6-F188-5B4F-848C-1DFEE8FC83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48340" y="3043965"/>
              <a:ext cx="1295320" cy="7700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184035C4-27B4-C744-B3AE-8852E2F13C3C}"/>
              </a:ext>
            </a:extLst>
          </p:cNvPr>
          <p:cNvGrpSpPr/>
          <p:nvPr/>
        </p:nvGrpSpPr>
        <p:grpSpPr>
          <a:xfrm>
            <a:off x="8308751" y="3996354"/>
            <a:ext cx="423036" cy="373837"/>
            <a:chOff x="6464028" y="3701142"/>
            <a:chExt cx="1460435" cy="1173260"/>
          </a:xfrm>
        </p:grpSpPr>
        <p:pic>
          <p:nvPicPr>
            <p:cNvPr id="51" name="Picture 42" descr="Usa Flag Vintage Decoration PNG Clipart | Gallery Yopriceville -  High-Quality Images and Transparent PNG Free Clipart">
              <a:extLst>
                <a:ext uri="{FF2B5EF4-FFF2-40B4-BE49-F238E27FC236}">
                  <a16:creationId xmlns:a16="http://schemas.microsoft.com/office/drawing/2014/main" id="{9456872D-EE96-B241-A82C-A04E1AE41E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64028" y="3701142"/>
              <a:ext cx="1289322" cy="953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10" descr="Dollar Logo on Logonoid.com | Money sign, Credit card statement, Dollar">
              <a:extLst>
                <a:ext uri="{FF2B5EF4-FFF2-40B4-BE49-F238E27FC236}">
                  <a16:creationId xmlns:a16="http://schemas.microsoft.com/office/drawing/2014/main" id="{E948949A-E592-8A42-A4ED-E6AEA3FC61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08689" y="4404175"/>
              <a:ext cx="315774" cy="4702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9421AF2-E0B3-3A4D-B881-7E29B60CFCA9}"/>
              </a:ext>
            </a:extLst>
          </p:cNvPr>
          <p:cNvGrpSpPr/>
          <p:nvPr/>
        </p:nvGrpSpPr>
        <p:grpSpPr>
          <a:xfrm>
            <a:off x="10060751" y="3989459"/>
            <a:ext cx="319120" cy="351032"/>
            <a:chOff x="5793157" y="3126157"/>
            <a:chExt cx="910487" cy="910487"/>
          </a:xfrm>
        </p:grpSpPr>
        <p:pic>
          <p:nvPicPr>
            <p:cNvPr id="54" name="Picture 46" descr="China flag vector - country flags">
              <a:extLst>
                <a:ext uri="{FF2B5EF4-FFF2-40B4-BE49-F238E27FC236}">
                  <a16:creationId xmlns:a16="http://schemas.microsoft.com/office/drawing/2014/main" id="{BF64C919-6C8A-6641-AA39-0297BFFA10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3157" y="3126157"/>
              <a:ext cx="910487" cy="9104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Picture 26" descr="Currency Icon of Glyph style - Available in SVG, PNG, EPS, AI &amp; Icon fonts">
              <a:extLst>
                <a:ext uri="{FF2B5EF4-FFF2-40B4-BE49-F238E27FC236}">
                  <a16:creationId xmlns:a16="http://schemas.microsoft.com/office/drawing/2014/main" id="{C2470428-02FF-714D-8500-EEC6FDF67F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86724" y="3666576"/>
              <a:ext cx="351032" cy="3510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5F6E2E3-4800-9449-8794-EEBBB8AE52FA}"/>
              </a:ext>
            </a:extLst>
          </p:cNvPr>
          <p:cNvGrpSpPr/>
          <p:nvPr/>
        </p:nvGrpSpPr>
        <p:grpSpPr>
          <a:xfrm>
            <a:off x="9852005" y="4368146"/>
            <a:ext cx="763772" cy="248750"/>
            <a:chOff x="6008914" y="1779367"/>
            <a:chExt cx="1637212" cy="484743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759EB9D4-460F-724A-8650-BF11FB075555}"/>
                </a:ext>
              </a:extLst>
            </p:cNvPr>
            <p:cNvSpPr txBox="1"/>
            <p:nvPr/>
          </p:nvSpPr>
          <p:spPr>
            <a:xfrm>
              <a:off x="6008914" y="1779367"/>
              <a:ext cx="1637212" cy="3482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PT" sz="1100" b="1" dirty="0">
                  <a:solidFill>
                    <a:schemeClr val="tx2">
                      <a:lumMod val="75000"/>
                    </a:schemeClr>
                  </a:solidFill>
                </a:rPr>
                <a:t>S&amp;P 500</a:t>
              </a: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A2CC6945-D2B4-124A-AB70-87E610BC8DEF}"/>
                </a:ext>
              </a:extLst>
            </p:cNvPr>
            <p:cNvCxnSpPr>
              <a:cxnSpLocks/>
            </p:cNvCxnSpPr>
            <p:nvPr/>
          </p:nvCxnSpPr>
          <p:spPr>
            <a:xfrm>
              <a:off x="6228533" y="2264110"/>
              <a:ext cx="1164631" cy="0"/>
            </a:xfrm>
            <a:prstGeom prst="line">
              <a:avLst/>
            </a:prstGeom>
            <a:ln w="28575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155035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3B98421-E2D1-4745-9F7C-64F2760897EB}"/>
              </a:ext>
            </a:extLst>
          </p:cNvPr>
          <p:cNvSpPr txBox="1">
            <a:spLocks/>
          </p:cNvSpPr>
          <p:nvPr/>
        </p:nvSpPr>
        <p:spPr>
          <a:xfrm>
            <a:off x="533400" y="361368"/>
            <a:ext cx="11430000" cy="885542"/>
          </a:xfrm>
          <a:prstGeom prst="rect">
            <a:avLst/>
          </a:prstGeom>
        </p:spPr>
        <p:txBody>
          <a:bodyPr anchor="t"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Graphik" panose="020B0503030202060203" pitchFamily="34" charset="0"/>
                <a:ea typeface="+mj-ea"/>
                <a:cs typeface="+mj-cs"/>
              </a:defRPr>
            </a:lvl1pPr>
          </a:lstStyle>
          <a:p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What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does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this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mean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in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terms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of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risk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preferences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?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26D1206-12D9-2B4B-AB93-FC2C88D0F45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618936" y="6544061"/>
            <a:ext cx="304799" cy="20637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42662FD-B92B-424F-B34E-0170B4C5895C}"/>
              </a:ext>
            </a:extLst>
          </p:cNvPr>
          <p:cNvGrpSpPr/>
          <p:nvPr/>
        </p:nvGrpSpPr>
        <p:grpSpPr>
          <a:xfrm>
            <a:off x="5684195" y="2336434"/>
            <a:ext cx="5980815" cy="3118102"/>
            <a:chOff x="533400" y="3919688"/>
            <a:chExt cx="11125201" cy="2576944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9FE1B912-2514-B444-B2BD-194F66C0E0B3}"/>
                </a:ext>
              </a:extLst>
            </p:cNvPr>
            <p:cNvSpPr/>
            <p:nvPr/>
          </p:nvSpPr>
          <p:spPr>
            <a:xfrm>
              <a:off x="533400" y="3919688"/>
              <a:ext cx="2601686" cy="121665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r>
                <a:rPr lang="en-GB" b="1" dirty="0"/>
                <a:t>R</a:t>
              </a:r>
              <a:r>
                <a:rPr lang="en-PT" b="1" dirty="0"/>
                <a:t>ISK AVERSE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6D7C2115-AC02-7843-8337-B9F7F5566E51}"/>
                </a:ext>
              </a:extLst>
            </p:cNvPr>
            <p:cNvSpPr/>
            <p:nvPr/>
          </p:nvSpPr>
          <p:spPr>
            <a:xfrm>
              <a:off x="533400" y="5279982"/>
              <a:ext cx="2601686" cy="121665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r>
                <a:rPr lang="en-GB" b="1" dirty="0"/>
                <a:t>R</a:t>
              </a:r>
              <a:r>
                <a:rPr lang="en-PT" b="1" dirty="0"/>
                <a:t>ISK LOVING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354C0CDF-768A-CC40-B69A-B81E24E67221}"/>
                </a:ext>
              </a:extLst>
            </p:cNvPr>
            <p:cNvSpPr/>
            <p:nvPr/>
          </p:nvSpPr>
          <p:spPr>
            <a:xfrm>
              <a:off x="3442339" y="3919688"/>
              <a:ext cx="8216261" cy="12166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0" tIns="108000" rIns="108000" bIns="108000" rtlCol="0" anchor="ctr"/>
            <a:lstStyle/>
            <a:p>
              <a:r>
                <a:rPr lang="en-US" sz="2000" b="1" dirty="0">
                  <a:solidFill>
                    <a:schemeClr val="tx2">
                      <a:lumMod val="75000"/>
                    </a:schemeClr>
                  </a:solidFill>
                  <a:latin typeface="Graphik "/>
                </a:rPr>
                <a:t>When the stock price is predicted to rise but it actually falls 14%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7B2EC23A-9855-9249-B6EC-5326D01DA365}"/>
                </a:ext>
              </a:extLst>
            </p:cNvPr>
            <p:cNvSpPr/>
            <p:nvPr/>
          </p:nvSpPr>
          <p:spPr>
            <a:xfrm>
              <a:off x="3442340" y="5279982"/>
              <a:ext cx="8216261" cy="12166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0" tIns="108000" rIns="108000" bIns="108000" rtlCol="0" anchor="ctr"/>
            <a:lstStyle/>
            <a:p>
              <a:r>
                <a:rPr lang="en-US" sz="2000" b="1" dirty="0">
                  <a:solidFill>
                    <a:schemeClr val="tx2">
                      <a:lumMod val="75000"/>
                    </a:schemeClr>
                  </a:solidFill>
                  <a:latin typeface="Graphik "/>
                </a:rPr>
                <a:t>When stock price is predicted to fall but it actually rises 26%</a:t>
              </a:r>
            </a:p>
          </p:txBody>
        </p:sp>
      </p:grpSp>
      <p:sp>
        <p:nvSpPr>
          <p:cNvPr id="14" name="AutoShape 4">
            <a:extLst>
              <a:ext uri="{FF2B5EF4-FFF2-40B4-BE49-F238E27FC236}">
                <a16:creationId xmlns:a16="http://schemas.microsoft.com/office/drawing/2014/main" id="{FB62691B-80B1-284D-B1FC-264354B2175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PT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9865A38-CEF3-E04B-A0FE-AF301126138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r="2828" b="3460"/>
          <a:stretch/>
        </p:blipFill>
        <p:spPr>
          <a:xfrm>
            <a:off x="251470" y="1898451"/>
            <a:ext cx="5331343" cy="3850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6000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2A05066-9979-5D40-9018-370AC342536C}"/>
              </a:ext>
            </a:extLst>
          </p:cNvPr>
          <p:cNvSpPr txBox="1">
            <a:spLocks/>
          </p:cNvSpPr>
          <p:nvPr/>
        </p:nvSpPr>
        <p:spPr>
          <a:xfrm>
            <a:off x="11771336" y="6696461"/>
            <a:ext cx="304799" cy="206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P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4F9AC08D-23A9-440E-BCB9-AA1E9877CC38}" type="slidenum">
              <a:rPr lang="en-US" sz="1000" smtClean="0">
                <a:solidFill>
                  <a:prstClr val="white">
                    <a:lumMod val="65000"/>
                  </a:prstClr>
                </a:solidFill>
                <a:latin typeface="Graphik"/>
              </a:rPr>
              <a:pPr>
                <a:defRPr/>
              </a:pPr>
              <a:t>6</a:t>
            </a:fld>
            <a:endParaRPr lang="en-US" sz="1000" dirty="0">
              <a:solidFill>
                <a:prstClr val="white">
                  <a:lumMod val="65000"/>
                </a:prstClr>
              </a:solidFill>
              <a:latin typeface="Graphik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3BCF7F-5D6D-DE4A-9ED1-655471C542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T" sz="4000" b="1" dirty="0"/>
              <a:t>LET’S TEST IT!</a:t>
            </a:r>
          </a:p>
        </p:txBody>
      </p:sp>
    </p:spTree>
    <p:extLst>
      <p:ext uri="{BB962C8B-B14F-4D97-AF65-F5344CB8AC3E}">
        <p14:creationId xmlns:p14="http://schemas.microsoft.com/office/powerpoint/2010/main" val="34391360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DBF8EF9-48A6-2348-B994-80204B5A3D03}"/>
              </a:ext>
            </a:extLst>
          </p:cNvPr>
          <p:cNvSpPr/>
          <p:nvPr/>
        </p:nvSpPr>
        <p:spPr>
          <a:xfrm>
            <a:off x="7396877" y="2789246"/>
            <a:ext cx="1895661" cy="3858002"/>
          </a:xfrm>
          <a:prstGeom prst="rect">
            <a:avLst/>
          </a:prstGeom>
          <a:solidFill>
            <a:srgbClr val="F2F2F2"/>
          </a:solidFill>
          <a:ln w="28575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PT" b="1" dirty="0">
                <a:solidFill>
                  <a:schemeClr val="tx2">
                    <a:lumMod val="75000"/>
                  </a:schemeClr>
                </a:solidFill>
              </a:rPr>
              <a:t>BEST OPTION!!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3B98421-E2D1-4745-9F7C-64F2760897EB}"/>
              </a:ext>
            </a:extLst>
          </p:cNvPr>
          <p:cNvSpPr txBox="1">
            <a:spLocks/>
          </p:cNvSpPr>
          <p:nvPr/>
        </p:nvSpPr>
        <p:spPr>
          <a:xfrm>
            <a:off x="533400" y="361368"/>
            <a:ext cx="11430000" cy="885542"/>
          </a:xfrm>
          <a:prstGeom prst="rect">
            <a:avLst/>
          </a:prstGeom>
        </p:spPr>
        <p:txBody>
          <a:bodyPr anchor="t"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Graphik" panose="020B0503030202060203" pitchFamily="34" charset="0"/>
                <a:ea typeface="+mj-ea"/>
                <a:cs typeface="+mj-cs"/>
              </a:defRPr>
            </a:lvl1pPr>
          </a:lstStyle>
          <a:p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In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order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to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see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how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good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our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model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is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we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compare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it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with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tossing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a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coin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(50/50) 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in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order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to 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decide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wether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to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invest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or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not</a:t>
            </a:r>
            <a:endParaRPr lang="pt-PT" sz="28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26D1206-12D9-2B4B-AB93-FC2C88D0F45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618936" y="6544061"/>
            <a:ext cx="304799" cy="20637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747472-CB7A-3A4A-83A5-EB3A4B8C16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80" t="2321" r="1880" b="2893"/>
          <a:stretch/>
        </p:blipFill>
        <p:spPr>
          <a:xfrm>
            <a:off x="533399" y="2952445"/>
            <a:ext cx="6297521" cy="3370351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8D1541A5-3F0C-6C41-8963-AC813C1D03F9}"/>
              </a:ext>
            </a:extLst>
          </p:cNvPr>
          <p:cNvSpPr/>
          <p:nvPr/>
        </p:nvSpPr>
        <p:spPr>
          <a:xfrm>
            <a:off x="7597331" y="3271827"/>
            <a:ext cx="1468584" cy="121665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PT" b="1" dirty="0"/>
              <a:t>MDEL</a:t>
            </a:r>
          </a:p>
          <a:p>
            <a:pPr algn="ctr"/>
            <a:r>
              <a:rPr lang="en-PT" sz="2800" b="1" dirty="0"/>
              <a:t>140 $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689AE5B-1544-E74F-BD08-1F3A67B21C7C}"/>
              </a:ext>
            </a:extLst>
          </p:cNvPr>
          <p:cNvSpPr/>
          <p:nvPr/>
        </p:nvSpPr>
        <p:spPr>
          <a:xfrm>
            <a:off x="10042834" y="3271827"/>
            <a:ext cx="1468584" cy="121665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t-PT" b="1" dirty="0"/>
              <a:t>COIN TOSS</a:t>
            </a:r>
          </a:p>
          <a:p>
            <a:pPr algn="ctr"/>
            <a:r>
              <a:rPr lang="pt-PT" sz="2800" b="1" dirty="0"/>
              <a:t>120$</a:t>
            </a:r>
            <a:endParaRPr lang="en-PT" sz="2800" b="1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71B7F06-A058-AB45-92B1-93380ED2BDB2}"/>
              </a:ext>
            </a:extLst>
          </p:cNvPr>
          <p:cNvSpPr/>
          <p:nvPr/>
        </p:nvSpPr>
        <p:spPr>
          <a:xfrm>
            <a:off x="533399" y="1740540"/>
            <a:ext cx="10978019" cy="8855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Graphik "/>
                <a:ea typeface="+mn-ea"/>
                <a:cs typeface="+mn-cs"/>
              </a:rPr>
              <a:t>What do we predict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chemeClr val="tx2">
                    <a:lumMod val="75000"/>
                  </a:schemeClr>
                </a:solidFill>
                <a:latin typeface="Graphik "/>
              </a:rPr>
              <a:t>Cumulative amount from investing 100$ and deciding to invest/or not </a:t>
            </a: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Graphik "/>
              </a:rPr>
              <a:t>everyday for the last 2 week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Graphik 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D76AA13-76CD-1141-A362-34ADA430F888}"/>
              </a:ext>
            </a:extLst>
          </p:cNvPr>
          <p:cNvSpPr/>
          <p:nvPr/>
        </p:nvSpPr>
        <p:spPr>
          <a:xfrm>
            <a:off x="9356333" y="3645617"/>
            <a:ext cx="566203" cy="469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t-PT" b="1" dirty="0">
                <a:solidFill>
                  <a:schemeClr val="tx2">
                    <a:lumMod val="75000"/>
                  </a:schemeClr>
                </a:solidFill>
              </a:rPr>
              <a:t>VS.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B116823-27D2-7D42-9365-A10BBA4D099C}"/>
              </a:ext>
            </a:extLst>
          </p:cNvPr>
          <p:cNvSpPr/>
          <p:nvPr/>
        </p:nvSpPr>
        <p:spPr>
          <a:xfrm>
            <a:off x="7597331" y="5027897"/>
            <a:ext cx="1468584" cy="1216650"/>
          </a:xfrm>
          <a:prstGeom prst="rect">
            <a:avLst/>
          </a:prstGeom>
          <a:solidFill>
            <a:srgbClr val="F2F2F2"/>
          </a:solidFill>
          <a:ln w="381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PT" sz="2800" b="1" dirty="0">
                <a:solidFill>
                  <a:schemeClr val="tx2">
                    <a:lumMod val="75000"/>
                  </a:schemeClr>
                </a:solidFill>
              </a:rPr>
              <a:t>ROI</a:t>
            </a:r>
          </a:p>
          <a:p>
            <a:pPr algn="ctr"/>
            <a:r>
              <a:rPr lang="en-PT" sz="4000" b="1" dirty="0">
                <a:solidFill>
                  <a:schemeClr val="tx2">
                    <a:lumMod val="75000"/>
                  </a:schemeClr>
                </a:solidFill>
              </a:rPr>
              <a:t>40%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209A241-D4CD-9941-ACDE-E295B9607533}"/>
              </a:ext>
            </a:extLst>
          </p:cNvPr>
          <p:cNvSpPr/>
          <p:nvPr/>
        </p:nvSpPr>
        <p:spPr>
          <a:xfrm>
            <a:off x="10042834" y="5027897"/>
            <a:ext cx="1468584" cy="121665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PT" b="1" dirty="0">
                <a:solidFill>
                  <a:schemeClr val="bg2">
                    <a:lumMod val="75000"/>
                  </a:schemeClr>
                </a:solidFill>
              </a:rPr>
              <a:t>ROI</a:t>
            </a:r>
          </a:p>
          <a:p>
            <a:pPr algn="ctr"/>
            <a:r>
              <a:rPr lang="en-PT" sz="2800" b="1" dirty="0">
                <a:solidFill>
                  <a:schemeClr val="bg2">
                    <a:lumMod val="75000"/>
                  </a:schemeClr>
                </a:solidFill>
              </a:rPr>
              <a:t>20%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6BC76F3-3FCC-E74B-8BEB-BC3319CF4E51}"/>
              </a:ext>
            </a:extLst>
          </p:cNvPr>
          <p:cNvGrpSpPr/>
          <p:nvPr/>
        </p:nvGrpSpPr>
        <p:grpSpPr>
          <a:xfrm rot="5400000">
            <a:off x="8190150" y="4559712"/>
            <a:ext cx="282947" cy="396950"/>
            <a:chOff x="8093966" y="1601561"/>
            <a:chExt cx="282947" cy="396950"/>
          </a:xfrm>
          <a:solidFill>
            <a:schemeClr val="tx2">
              <a:lumMod val="75000"/>
            </a:schemeClr>
          </a:solidFill>
        </p:grpSpPr>
        <p:sp>
          <p:nvSpPr>
            <p:cNvPr id="50" name="Isosceles Triangle 37">
              <a:extLst>
                <a:ext uri="{FF2B5EF4-FFF2-40B4-BE49-F238E27FC236}">
                  <a16:creationId xmlns:a16="http://schemas.microsoft.com/office/drawing/2014/main" id="{FF436AE5-3D45-3E45-B524-A4029AD0052B}"/>
                </a:ext>
              </a:extLst>
            </p:cNvPr>
            <p:cNvSpPr/>
            <p:nvPr/>
          </p:nvSpPr>
          <p:spPr>
            <a:xfrm rot="5400000">
              <a:off x="8057872" y="1679469"/>
              <a:ext cx="396950" cy="241133"/>
            </a:xfrm>
            <a:prstGeom prst="triangl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  <p:sp>
          <p:nvSpPr>
            <p:cNvPr id="51" name="Isosceles Triangle 38">
              <a:extLst>
                <a:ext uri="{FF2B5EF4-FFF2-40B4-BE49-F238E27FC236}">
                  <a16:creationId xmlns:a16="http://schemas.microsoft.com/office/drawing/2014/main" id="{9CC9387C-D242-B543-9469-79E78FD929AC}"/>
                </a:ext>
              </a:extLst>
            </p:cNvPr>
            <p:cNvSpPr/>
            <p:nvPr/>
          </p:nvSpPr>
          <p:spPr>
            <a:xfrm rot="5400000">
              <a:off x="8035432" y="1709451"/>
              <a:ext cx="298235" cy="181168"/>
            </a:xfrm>
            <a:prstGeom prst="triangl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CC36126-739D-F44E-BE89-873915F11538}"/>
              </a:ext>
            </a:extLst>
          </p:cNvPr>
          <p:cNvGrpSpPr/>
          <p:nvPr/>
        </p:nvGrpSpPr>
        <p:grpSpPr>
          <a:xfrm rot="5400000">
            <a:off x="10635652" y="4580620"/>
            <a:ext cx="282947" cy="396950"/>
            <a:chOff x="8093966" y="1601561"/>
            <a:chExt cx="282947" cy="396950"/>
          </a:xfrm>
          <a:solidFill>
            <a:schemeClr val="tx2">
              <a:lumMod val="75000"/>
            </a:schemeClr>
          </a:solidFill>
        </p:grpSpPr>
        <p:sp>
          <p:nvSpPr>
            <p:cNvPr id="53" name="Isosceles Triangle 37">
              <a:extLst>
                <a:ext uri="{FF2B5EF4-FFF2-40B4-BE49-F238E27FC236}">
                  <a16:creationId xmlns:a16="http://schemas.microsoft.com/office/drawing/2014/main" id="{2C945C5F-9F4D-8B44-907A-F43AC3115746}"/>
                </a:ext>
              </a:extLst>
            </p:cNvPr>
            <p:cNvSpPr/>
            <p:nvPr/>
          </p:nvSpPr>
          <p:spPr>
            <a:xfrm rot="5400000">
              <a:off x="8057872" y="1679469"/>
              <a:ext cx="396950" cy="241133"/>
            </a:xfrm>
            <a:prstGeom prst="triangl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  <p:sp>
          <p:nvSpPr>
            <p:cNvPr id="54" name="Isosceles Triangle 38">
              <a:extLst>
                <a:ext uri="{FF2B5EF4-FFF2-40B4-BE49-F238E27FC236}">
                  <a16:creationId xmlns:a16="http://schemas.microsoft.com/office/drawing/2014/main" id="{BAAFCDAE-7053-9C45-981D-2A24C73A9141}"/>
                </a:ext>
              </a:extLst>
            </p:cNvPr>
            <p:cNvSpPr/>
            <p:nvPr/>
          </p:nvSpPr>
          <p:spPr>
            <a:xfrm rot="5400000">
              <a:off x="8035432" y="1709451"/>
              <a:ext cx="298235" cy="181168"/>
            </a:xfrm>
            <a:prstGeom prst="triangl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48446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3B98421-E2D1-4745-9F7C-64F2760897EB}"/>
              </a:ext>
            </a:extLst>
          </p:cNvPr>
          <p:cNvSpPr txBox="1">
            <a:spLocks/>
          </p:cNvSpPr>
          <p:nvPr/>
        </p:nvSpPr>
        <p:spPr>
          <a:xfrm>
            <a:off x="533400" y="361368"/>
            <a:ext cx="11430000" cy="885542"/>
          </a:xfrm>
          <a:prstGeom prst="rect">
            <a:avLst/>
          </a:prstGeom>
        </p:spPr>
        <p:txBody>
          <a:bodyPr anchor="t"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Graphik" panose="020B0503030202060203" pitchFamily="34" charset="0"/>
                <a:ea typeface="+mj-ea"/>
                <a:cs typeface="+mj-cs"/>
              </a:defRPr>
            </a:lvl1pPr>
          </a:lstStyle>
          <a:p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During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project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weeks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we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found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ouserlves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with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some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limitations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and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next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steps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we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would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have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done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if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we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dirty="0" err="1">
                <a:solidFill>
                  <a:schemeClr val="tx2">
                    <a:lumMod val="75000"/>
                  </a:schemeClr>
                </a:solidFill>
              </a:rPr>
              <a:t>had</a:t>
            </a:r>
            <a:r>
              <a:rPr lang="pt-PT" sz="2800" dirty="0">
                <a:solidFill>
                  <a:schemeClr val="tx2">
                    <a:lumMod val="75000"/>
                  </a:schemeClr>
                </a:solidFill>
              </a:rPr>
              <a:t> more time</a:t>
            </a:r>
            <a:endParaRPr lang="pt-PT" sz="28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26D1206-12D9-2B4B-AB93-FC2C88D0F45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618936" y="6544061"/>
            <a:ext cx="304799" cy="20637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8DAFECC-B6AC-DC43-BB7A-E179D50B4D25}"/>
              </a:ext>
            </a:extLst>
          </p:cNvPr>
          <p:cNvSpPr/>
          <p:nvPr/>
        </p:nvSpPr>
        <p:spPr>
          <a:xfrm>
            <a:off x="533400" y="1714503"/>
            <a:ext cx="2601686" cy="215537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12000" rIns="108000" bIns="0" rtlCol="0" anchor="t"/>
          <a:lstStyle/>
          <a:p>
            <a:pPr algn="ctr"/>
            <a:r>
              <a:rPr lang="en-PT" b="1" dirty="0"/>
              <a:t>LIMITATION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C79003-55D9-9246-BB23-D1B1148283AB}"/>
              </a:ext>
            </a:extLst>
          </p:cNvPr>
          <p:cNvSpPr/>
          <p:nvPr/>
        </p:nvSpPr>
        <p:spPr>
          <a:xfrm>
            <a:off x="533400" y="4250875"/>
            <a:ext cx="2601686" cy="215537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12000" rIns="108000" bIns="0" rtlCol="0" anchor="t"/>
          <a:lstStyle/>
          <a:p>
            <a:pPr algn="ctr"/>
            <a:r>
              <a:rPr lang="en-PT" b="1" dirty="0"/>
              <a:t>GOI</a:t>
            </a:r>
            <a:r>
              <a:rPr lang="en-GB" b="1" dirty="0"/>
              <a:t>NG</a:t>
            </a:r>
            <a:r>
              <a:rPr lang="en-PT" b="1" dirty="0"/>
              <a:t> FURTHER</a:t>
            </a:r>
          </a:p>
        </p:txBody>
      </p:sp>
      <p:pic>
        <p:nvPicPr>
          <p:cNvPr id="10" name="Graphic 9" descr="End">
            <a:extLst>
              <a:ext uri="{FF2B5EF4-FFF2-40B4-BE49-F238E27FC236}">
                <a16:creationId xmlns:a16="http://schemas.microsoft.com/office/drawing/2014/main" id="{2048E7A2-131F-F141-AE9B-3912966DA7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98314" y="5440826"/>
            <a:ext cx="624548" cy="624548"/>
          </a:xfrm>
          <a:prstGeom prst="rect">
            <a:avLst/>
          </a:prstGeom>
        </p:spPr>
      </p:pic>
      <p:pic>
        <p:nvPicPr>
          <p:cNvPr id="12" name="Graphic 11" descr="Brainstorm">
            <a:extLst>
              <a:ext uri="{FF2B5EF4-FFF2-40B4-BE49-F238E27FC236}">
                <a16:creationId xmlns:a16="http://schemas.microsoft.com/office/drawing/2014/main" id="{69F818EF-2AE6-004F-8E87-DFAF1C2980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98314" y="2904454"/>
            <a:ext cx="624548" cy="624548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3F02074-2BCF-8242-A593-62C5EB4520B5}"/>
              </a:ext>
            </a:extLst>
          </p:cNvPr>
          <p:cNvSpPr/>
          <p:nvPr/>
        </p:nvSpPr>
        <p:spPr>
          <a:xfrm>
            <a:off x="3960955" y="1714502"/>
            <a:ext cx="3563331" cy="9822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08000" rIns="108000" bIns="108000" rtlCol="0" anchor="ctr"/>
          <a:lstStyle/>
          <a:p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Graphik "/>
              </a:rPr>
              <a:t>Model evolu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14524D7-2916-1547-BEAB-F58F7AF402E1}"/>
              </a:ext>
            </a:extLst>
          </p:cNvPr>
          <p:cNvSpPr/>
          <p:nvPr/>
        </p:nvSpPr>
        <p:spPr>
          <a:xfrm>
            <a:off x="3960955" y="2887591"/>
            <a:ext cx="3563331" cy="9822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08000" rIns="108000" bIns="108000" rtlCol="0" anchor="ctr"/>
          <a:lstStyle/>
          <a:p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Graphik "/>
              </a:rPr>
              <a:t>Model consistenc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75C7A7F-25B7-114B-9E43-8B7A651EE1FD}"/>
              </a:ext>
            </a:extLst>
          </p:cNvPr>
          <p:cNvSpPr/>
          <p:nvPr/>
        </p:nvSpPr>
        <p:spPr>
          <a:xfrm>
            <a:off x="3960955" y="4250875"/>
            <a:ext cx="3563331" cy="9822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08000" rIns="108000" bIns="108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Graphik "/>
                <a:ea typeface="+mn-ea"/>
                <a:cs typeface="+mn-cs"/>
              </a:rPr>
              <a:t>Add different featur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77939D-DA58-8143-BEC0-0AD885FF1A6A}"/>
              </a:ext>
            </a:extLst>
          </p:cNvPr>
          <p:cNvSpPr/>
          <p:nvPr/>
        </p:nvSpPr>
        <p:spPr>
          <a:xfrm>
            <a:off x="3960955" y="5423964"/>
            <a:ext cx="3563331" cy="9822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08000" rIns="108000" bIns="108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Graphik "/>
              </a:rPr>
              <a:t>Try different model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Graphik 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C8B96F7-0E80-E247-B38B-DD7282F96AA4}"/>
              </a:ext>
            </a:extLst>
          </p:cNvPr>
          <p:cNvGrpSpPr/>
          <p:nvPr/>
        </p:nvGrpSpPr>
        <p:grpSpPr>
          <a:xfrm>
            <a:off x="3468445" y="2007168"/>
            <a:ext cx="282947" cy="396950"/>
            <a:chOff x="8093966" y="1601561"/>
            <a:chExt cx="282947" cy="396950"/>
          </a:xfrm>
          <a:solidFill>
            <a:schemeClr val="tx2">
              <a:lumMod val="75000"/>
            </a:schemeClr>
          </a:solidFill>
        </p:grpSpPr>
        <p:sp>
          <p:nvSpPr>
            <p:cNvPr id="23" name="Isosceles Triangle 37">
              <a:extLst>
                <a:ext uri="{FF2B5EF4-FFF2-40B4-BE49-F238E27FC236}">
                  <a16:creationId xmlns:a16="http://schemas.microsoft.com/office/drawing/2014/main" id="{EF19DCAE-0873-2A4B-80F3-D40AF30AA290}"/>
                </a:ext>
              </a:extLst>
            </p:cNvPr>
            <p:cNvSpPr/>
            <p:nvPr/>
          </p:nvSpPr>
          <p:spPr>
            <a:xfrm rot="5400000">
              <a:off x="8057872" y="1679469"/>
              <a:ext cx="396950" cy="241133"/>
            </a:xfrm>
            <a:prstGeom prst="triangl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  <p:sp>
          <p:nvSpPr>
            <p:cNvPr id="24" name="Isosceles Triangle 38">
              <a:extLst>
                <a:ext uri="{FF2B5EF4-FFF2-40B4-BE49-F238E27FC236}">
                  <a16:creationId xmlns:a16="http://schemas.microsoft.com/office/drawing/2014/main" id="{6152593A-48F7-0E46-9C17-195CBD312636}"/>
                </a:ext>
              </a:extLst>
            </p:cNvPr>
            <p:cNvSpPr/>
            <p:nvPr/>
          </p:nvSpPr>
          <p:spPr>
            <a:xfrm rot="5400000">
              <a:off x="8035432" y="1709451"/>
              <a:ext cx="298235" cy="181168"/>
            </a:xfrm>
            <a:prstGeom prst="triangl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69E00A6-CFCA-E74F-8797-99F074827AFC}"/>
              </a:ext>
            </a:extLst>
          </p:cNvPr>
          <p:cNvGrpSpPr/>
          <p:nvPr/>
        </p:nvGrpSpPr>
        <p:grpSpPr>
          <a:xfrm>
            <a:off x="3468444" y="3180257"/>
            <a:ext cx="282947" cy="396950"/>
            <a:chOff x="8093966" y="1601561"/>
            <a:chExt cx="282947" cy="396950"/>
          </a:xfrm>
          <a:solidFill>
            <a:schemeClr val="tx2">
              <a:lumMod val="75000"/>
            </a:schemeClr>
          </a:solidFill>
        </p:grpSpPr>
        <p:sp>
          <p:nvSpPr>
            <p:cNvPr id="26" name="Isosceles Triangle 37">
              <a:extLst>
                <a:ext uri="{FF2B5EF4-FFF2-40B4-BE49-F238E27FC236}">
                  <a16:creationId xmlns:a16="http://schemas.microsoft.com/office/drawing/2014/main" id="{092A00F7-1E20-9B44-8676-38F980A7DD02}"/>
                </a:ext>
              </a:extLst>
            </p:cNvPr>
            <p:cNvSpPr/>
            <p:nvPr/>
          </p:nvSpPr>
          <p:spPr>
            <a:xfrm rot="5400000">
              <a:off x="8057872" y="1679469"/>
              <a:ext cx="396950" cy="241133"/>
            </a:xfrm>
            <a:prstGeom prst="triangl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  <p:sp>
          <p:nvSpPr>
            <p:cNvPr id="27" name="Isosceles Triangle 38">
              <a:extLst>
                <a:ext uri="{FF2B5EF4-FFF2-40B4-BE49-F238E27FC236}">
                  <a16:creationId xmlns:a16="http://schemas.microsoft.com/office/drawing/2014/main" id="{6B7C20D9-012B-654C-AFD0-A1A31D8B3B2D}"/>
                </a:ext>
              </a:extLst>
            </p:cNvPr>
            <p:cNvSpPr/>
            <p:nvPr/>
          </p:nvSpPr>
          <p:spPr>
            <a:xfrm rot="5400000">
              <a:off x="8035432" y="1709451"/>
              <a:ext cx="298235" cy="181168"/>
            </a:xfrm>
            <a:prstGeom prst="triangl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EC85E30-6A26-A347-8547-AC65D98D2BD9}"/>
              </a:ext>
            </a:extLst>
          </p:cNvPr>
          <p:cNvGrpSpPr/>
          <p:nvPr/>
        </p:nvGrpSpPr>
        <p:grpSpPr>
          <a:xfrm>
            <a:off x="3468444" y="4560651"/>
            <a:ext cx="282947" cy="396950"/>
            <a:chOff x="8093966" y="1601561"/>
            <a:chExt cx="282947" cy="396950"/>
          </a:xfrm>
          <a:solidFill>
            <a:schemeClr val="tx2">
              <a:lumMod val="75000"/>
            </a:schemeClr>
          </a:solidFill>
        </p:grpSpPr>
        <p:sp>
          <p:nvSpPr>
            <p:cNvPr id="35" name="Isosceles Triangle 37">
              <a:extLst>
                <a:ext uri="{FF2B5EF4-FFF2-40B4-BE49-F238E27FC236}">
                  <a16:creationId xmlns:a16="http://schemas.microsoft.com/office/drawing/2014/main" id="{016BDEE7-7894-484A-A9EE-C2340793F510}"/>
                </a:ext>
              </a:extLst>
            </p:cNvPr>
            <p:cNvSpPr/>
            <p:nvPr/>
          </p:nvSpPr>
          <p:spPr>
            <a:xfrm rot="5400000">
              <a:off x="8057872" y="1679469"/>
              <a:ext cx="396950" cy="241133"/>
            </a:xfrm>
            <a:prstGeom prst="triangl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  <p:sp>
          <p:nvSpPr>
            <p:cNvPr id="36" name="Isosceles Triangle 38">
              <a:extLst>
                <a:ext uri="{FF2B5EF4-FFF2-40B4-BE49-F238E27FC236}">
                  <a16:creationId xmlns:a16="http://schemas.microsoft.com/office/drawing/2014/main" id="{510D1E76-70C2-D94C-B963-7E5F9E90D7B7}"/>
                </a:ext>
              </a:extLst>
            </p:cNvPr>
            <p:cNvSpPr/>
            <p:nvPr/>
          </p:nvSpPr>
          <p:spPr>
            <a:xfrm rot="5400000">
              <a:off x="8035432" y="1709451"/>
              <a:ext cx="298235" cy="181168"/>
            </a:xfrm>
            <a:prstGeom prst="triangl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1E873D5-4CB3-8F4F-BCB5-B754B9BBB518}"/>
              </a:ext>
            </a:extLst>
          </p:cNvPr>
          <p:cNvGrpSpPr/>
          <p:nvPr/>
        </p:nvGrpSpPr>
        <p:grpSpPr>
          <a:xfrm>
            <a:off x="3468443" y="5733740"/>
            <a:ext cx="282947" cy="396950"/>
            <a:chOff x="8093966" y="1601561"/>
            <a:chExt cx="282947" cy="396950"/>
          </a:xfrm>
          <a:solidFill>
            <a:schemeClr val="tx2">
              <a:lumMod val="75000"/>
            </a:schemeClr>
          </a:solidFill>
        </p:grpSpPr>
        <p:sp>
          <p:nvSpPr>
            <p:cNvPr id="38" name="Isosceles Triangle 37">
              <a:extLst>
                <a:ext uri="{FF2B5EF4-FFF2-40B4-BE49-F238E27FC236}">
                  <a16:creationId xmlns:a16="http://schemas.microsoft.com/office/drawing/2014/main" id="{43B0BF07-6E93-DC4A-B38E-BF145978A169}"/>
                </a:ext>
              </a:extLst>
            </p:cNvPr>
            <p:cNvSpPr/>
            <p:nvPr/>
          </p:nvSpPr>
          <p:spPr>
            <a:xfrm rot="5400000">
              <a:off x="8057872" y="1679469"/>
              <a:ext cx="396950" cy="241133"/>
            </a:xfrm>
            <a:prstGeom prst="triangl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 dirty="0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  <p:sp>
          <p:nvSpPr>
            <p:cNvPr id="39" name="Isosceles Triangle 38">
              <a:extLst>
                <a:ext uri="{FF2B5EF4-FFF2-40B4-BE49-F238E27FC236}">
                  <a16:creationId xmlns:a16="http://schemas.microsoft.com/office/drawing/2014/main" id="{0CC4800E-1BE3-E34D-85B9-CE8DC5FEB152}"/>
                </a:ext>
              </a:extLst>
            </p:cNvPr>
            <p:cNvSpPr/>
            <p:nvPr/>
          </p:nvSpPr>
          <p:spPr>
            <a:xfrm rot="5400000">
              <a:off x="8035432" y="1709451"/>
              <a:ext cx="298235" cy="181168"/>
            </a:xfrm>
            <a:prstGeom prst="triangl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sz="1400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95AECE91-8BDF-3B40-8C30-945161839433}"/>
              </a:ext>
            </a:extLst>
          </p:cNvPr>
          <p:cNvSpPr/>
          <p:nvPr/>
        </p:nvSpPr>
        <p:spPr>
          <a:xfrm>
            <a:off x="7733849" y="4250875"/>
            <a:ext cx="3563331" cy="9822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08000" rIns="108000" bIns="108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Graphik "/>
                <a:ea typeface="+mn-ea"/>
                <a:cs typeface="+mn-cs"/>
              </a:rPr>
              <a:t>Use more data to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Graphik "/>
                <a:ea typeface="+mn-ea"/>
                <a:cs typeface="+mn-cs"/>
              </a:rPr>
              <a:t>backtest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Graphik 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0B3FDC1-E871-5E4F-A155-4901D03B9668}"/>
              </a:ext>
            </a:extLst>
          </p:cNvPr>
          <p:cNvSpPr/>
          <p:nvPr/>
        </p:nvSpPr>
        <p:spPr>
          <a:xfrm>
            <a:off x="7733849" y="1714501"/>
            <a:ext cx="3563331" cy="9822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08000" rIns="108000" bIns="108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Graphik "/>
              </a:rPr>
              <a:t>Binary classification 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Graphik 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73823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3B98421-E2D1-4745-9F7C-64F2760897EB}"/>
              </a:ext>
            </a:extLst>
          </p:cNvPr>
          <p:cNvSpPr txBox="1">
            <a:spLocks/>
          </p:cNvSpPr>
          <p:nvPr/>
        </p:nvSpPr>
        <p:spPr>
          <a:xfrm>
            <a:off x="533400" y="361368"/>
            <a:ext cx="11430000" cy="885542"/>
          </a:xfrm>
          <a:prstGeom prst="rect">
            <a:avLst/>
          </a:prstGeom>
        </p:spPr>
        <p:txBody>
          <a:bodyPr anchor="t"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Graphik" panose="020B0503030202060203" pitchFamily="34" charset="0"/>
                <a:ea typeface="+mj-ea"/>
                <a:cs typeface="+mj-cs"/>
              </a:defRPr>
            </a:lvl1pPr>
          </a:lstStyle>
          <a:p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What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does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this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mean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in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terms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of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risk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PT" sz="2800" b="1" dirty="0" err="1">
                <a:solidFill>
                  <a:schemeClr val="tx2">
                    <a:lumMod val="75000"/>
                  </a:schemeClr>
                </a:solidFill>
              </a:rPr>
              <a:t>preferences</a:t>
            </a:r>
            <a:r>
              <a:rPr lang="pt-PT" sz="2800" b="1" dirty="0">
                <a:solidFill>
                  <a:schemeClr val="tx2">
                    <a:lumMod val="75000"/>
                  </a:schemeClr>
                </a:solidFill>
              </a:rPr>
              <a:t>?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26D1206-12D9-2B4B-AB93-FC2C88D0F45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618936" y="6544061"/>
            <a:ext cx="304799" cy="20637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1BE8DBF-5371-4147-A3C0-8BB7E18142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604" y="1058361"/>
            <a:ext cx="4900963" cy="2584932"/>
          </a:xfrm>
          <a:prstGeom prst="rect">
            <a:avLst/>
          </a:prstGeom>
        </p:spPr>
      </p:pic>
      <p:sp>
        <p:nvSpPr>
          <p:cNvPr id="82" name="Rectangle 81">
            <a:extLst>
              <a:ext uri="{FF2B5EF4-FFF2-40B4-BE49-F238E27FC236}">
                <a16:creationId xmlns:a16="http://schemas.microsoft.com/office/drawing/2014/main" id="{1E19B4C6-E6A5-ED4D-B3CF-2D527AE2BC09}"/>
              </a:ext>
            </a:extLst>
          </p:cNvPr>
          <p:cNvSpPr/>
          <p:nvPr/>
        </p:nvSpPr>
        <p:spPr>
          <a:xfrm>
            <a:off x="3558435" y="1020573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PT" dirty="0"/>
              <a:t># accuracy 61%</a:t>
            </a:r>
          </a:p>
          <a:p>
            <a:r>
              <a:rPr lang="en-PT" dirty="0"/>
              <a:t># recall 73%</a:t>
            </a:r>
          </a:p>
          <a:p>
            <a:r>
              <a:rPr lang="en-PT" dirty="0"/>
              <a:t># precision 68%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9FE1B912-2514-B444-B2BD-194F66C0E0B3}"/>
              </a:ext>
            </a:extLst>
          </p:cNvPr>
          <p:cNvSpPr/>
          <p:nvPr/>
        </p:nvSpPr>
        <p:spPr>
          <a:xfrm>
            <a:off x="533400" y="3919688"/>
            <a:ext cx="2601686" cy="121665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GB" b="1" dirty="0"/>
              <a:t>R</a:t>
            </a:r>
            <a:r>
              <a:rPr lang="en-PT" b="1" dirty="0"/>
              <a:t>ISK AVERSE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6D7C2115-AC02-7843-8337-B9F7F5566E51}"/>
              </a:ext>
            </a:extLst>
          </p:cNvPr>
          <p:cNvSpPr/>
          <p:nvPr/>
        </p:nvSpPr>
        <p:spPr>
          <a:xfrm>
            <a:off x="533400" y="5279982"/>
            <a:ext cx="2601686" cy="121665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GB" b="1" dirty="0"/>
              <a:t>R</a:t>
            </a:r>
            <a:r>
              <a:rPr lang="en-PT" b="1" dirty="0"/>
              <a:t>ISK LOVING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54C0CDF-768A-CC40-B69A-B81E24E67221}"/>
              </a:ext>
            </a:extLst>
          </p:cNvPr>
          <p:cNvSpPr/>
          <p:nvPr/>
        </p:nvSpPr>
        <p:spPr>
          <a:xfrm>
            <a:off x="3442339" y="3919688"/>
            <a:ext cx="8216261" cy="1216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08000" rIns="108000" bIns="108000" rtlCol="0" anchor="ctr"/>
          <a:lstStyle/>
          <a:p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Graphik "/>
              </a:rPr>
              <a:t>When the stock price is predicted to rise but it actually falls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7B2EC23A-9855-9249-B6EC-5326D01DA365}"/>
              </a:ext>
            </a:extLst>
          </p:cNvPr>
          <p:cNvSpPr/>
          <p:nvPr/>
        </p:nvSpPr>
        <p:spPr>
          <a:xfrm>
            <a:off x="3442340" y="5279982"/>
            <a:ext cx="8216261" cy="1216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08000" rIns="108000" bIns="108000" rtlCol="0" anchor="ctr"/>
          <a:lstStyle/>
          <a:p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Graphik "/>
              </a:rPr>
              <a:t>When stock price is predicted to fall but it actually rises</a:t>
            </a:r>
          </a:p>
        </p:txBody>
      </p:sp>
    </p:spTree>
    <p:extLst>
      <p:ext uri="{BB962C8B-B14F-4D97-AF65-F5344CB8AC3E}">
        <p14:creationId xmlns:p14="http://schemas.microsoft.com/office/powerpoint/2010/main" val="19586647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kUsHbMR9m_aa0zSdSD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27</TotalTime>
  <Words>447</Words>
  <Application>Microsoft Macintosh PowerPoint</Application>
  <PresentationFormat>Widescreen</PresentationFormat>
  <Paragraphs>94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0" baseType="lpstr">
      <vt:lpstr>Arial</vt:lpstr>
      <vt:lpstr>Calibri</vt:lpstr>
      <vt:lpstr>Calibri Light</vt:lpstr>
      <vt:lpstr>Graphik</vt:lpstr>
      <vt:lpstr>Graphik </vt:lpstr>
      <vt:lpstr>Graphik Light</vt:lpstr>
      <vt:lpstr>Graphik Semibold</vt:lpstr>
      <vt:lpstr>Roboto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onor rodrigues</dc:creator>
  <cp:lastModifiedBy>leonor rodrigues</cp:lastModifiedBy>
  <cp:revision>38</cp:revision>
  <dcterms:created xsi:type="dcterms:W3CDTF">2020-11-25T09:17:13Z</dcterms:created>
  <dcterms:modified xsi:type="dcterms:W3CDTF">2020-11-26T12:24:48Z</dcterms:modified>
</cp:coreProperties>
</file>